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6"/>
    <p:sldMasterId id="2147483678" r:id="rId7"/>
    <p:sldMasterId id="2147483722" r:id="rId8"/>
    <p:sldMasterId id="2147483754" r:id="rId9"/>
    <p:sldMasterId id="2147483775" r:id="rId10"/>
    <p:sldMasterId id="2147483787" r:id="rId11"/>
  </p:sldMasterIdLst>
  <p:notesMasterIdLst>
    <p:notesMasterId r:id="rId36"/>
  </p:notesMasterIdLst>
  <p:sldIdLst>
    <p:sldId id="331" r:id="rId12"/>
    <p:sldId id="387" r:id="rId13"/>
    <p:sldId id="414" r:id="rId14"/>
    <p:sldId id="377" r:id="rId15"/>
    <p:sldId id="415" r:id="rId16"/>
    <p:sldId id="379" r:id="rId17"/>
    <p:sldId id="380" r:id="rId18"/>
    <p:sldId id="381" r:id="rId19"/>
    <p:sldId id="382" r:id="rId20"/>
    <p:sldId id="383" r:id="rId21"/>
    <p:sldId id="384" r:id="rId22"/>
    <p:sldId id="396" r:id="rId23"/>
    <p:sldId id="404" r:id="rId24"/>
    <p:sldId id="353" r:id="rId25"/>
    <p:sldId id="273" r:id="rId26"/>
    <p:sldId id="324" r:id="rId27"/>
    <p:sldId id="342" r:id="rId28"/>
    <p:sldId id="397" r:id="rId29"/>
    <p:sldId id="408" r:id="rId30"/>
    <p:sldId id="409" r:id="rId31"/>
    <p:sldId id="410" r:id="rId32"/>
    <p:sldId id="422" r:id="rId33"/>
    <p:sldId id="419" r:id="rId34"/>
    <p:sldId id="332"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34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6467"/>
    <a:srgbClr val="DC3C00"/>
    <a:srgbClr val="EB3C00"/>
    <a:srgbClr val="3C3D3F"/>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E23204-BFDD-4353-8B10-56E724238CB3}" v="793" dt="2016-09-01T18:23:51.1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15" autoAdjust="0"/>
    <p:restoredTop sz="94159" autoAdjust="0"/>
  </p:normalViewPr>
  <p:slideViewPr>
    <p:cSldViewPr snapToGrid="0">
      <p:cViewPr varScale="1">
        <p:scale>
          <a:sx n="87" d="100"/>
          <a:sy n="87" d="100"/>
        </p:scale>
        <p:origin x="232" y="60"/>
      </p:cViewPr>
      <p:guideLst/>
    </p:cSldViewPr>
  </p:slideViewPr>
  <p:notesTextViewPr>
    <p:cViewPr>
      <p:scale>
        <a:sx n="3" d="2"/>
        <a:sy n="3" d="2"/>
      </p:scale>
      <p:origin x="0" y="0"/>
    </p:cViewPr>
  </p:notesTextViewPr>
  <p:sorterViewPr>
    <p:cViewPr varScale="1">
      <p:scale>
        <a:sx n="1" d="1"/>
        <a:sy n="1" d="1"/>
      </p:scale>
      <p:origin x="0" y="-27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slide" Target="slides/slide23.xml"/><Relationship Id="rId42" Type="http://schemas.microsoft.com/office/2015/10/relationships/revisionInfo" Target="revisionInfo.xml"/><Relationship Id="rId7" Type="http://schemas.openxmlformats.org/officeDocument/2006/relationships/slideMaster" Target="slideMasters/slideMaster2.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35" Type="http://schemas.openxmlformats.org/officeDocument/2006/relationships/slide" Target="slides/slide2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8"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413DA7-3CD2-41BD-895A-F5AB4E03B65B}" type="datetimeFigureOut">
              <a:rPr lang="en-US" smtClean="0"/>
              <a:t>10/5/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40763C-4443-44E1-B24C-F2584CC42312}" type="slidenum">
              <a:rPr lang="en-US" smtClean="0"/>
              <a:t>‹#›</a:t>
            </a:fld>
            <a:endParaRPr lang="en-US"/>
          </a:p>
        </p:txBody>
      </p:sp>
    </p:spTree>
    <p:extLst>
      <p:ext uri="{BB962C8B-B14F-4D97-AF65-F5344CB8AC3E}">
        <p14:creationId xmlns:p14="http://schemas.microsoft.com/office/powerpoint/2010/main" val="2934791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6" name="Date Placeholder 5"/>
          <p:cNvSpPr>
            <a:spLocks noGrp="1"/>
          </p:cNvSpPr>
          <p:nvPr>
            <p:ph type="dt" idx="12"/>
          </p:nvPr>
        </p:nvSpPr>
        <p:spPr/>
        <p:txBody>
          <a:bodyPr/>
          <a:lstStyle/>
          <a:p>
            <a:fld id="{D4664A66-7F43-48D1-91D2-AE7A931D6495}" type="datetime1">
              <a:rPr lang="en-US" smtClean="0">
                <a:solidFill>
                  <a:prstClr val="black"/>
                </a:solidFill>
              </a:rPr>
              <a:pPr/>
              <a:t>10/5/2016</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
        <p:nvSpPr>
          <p:cNvPr id="8"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solidFill>
                  <a:prstClr val="black"/>
                </a:solidFill>
              </a:rPr>
              <a:t>Microsoft Office365</a:t>
            </a:r>
          </a:p>
        </p:txBody>
      </p:sp>
      <p:sp>
        <p:nvSpPr>
          <p:cNvPr id="9"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05797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28" rtl="0" eaLnBrk="1" fontAlgn="auto" latinLnBrk="0" hangingPunct="1">
              <a:lnSpc>
                <a:spcPct val="100000"/>
              </a:lnSpc>
              <a:spcBef>
                <a:spcPts val="0"/>
              </a:spcBef>
              <a:spcAft>
                <a:spcPts val="0"/>
              </a:spcAft>
              <a:buClrTx/>
              <a:buSzTx/>
              <a:buFontTx/>
              <a:buNone/>
              <a:tabLst/>
              <a:defRPr/>
            </a:pPr>
            <a:r>
              <a:rPr lang="en-US" sz="900" dirty="0"/>
              <a:t>Now, let’s talk</a:t>
            </a:r>
            <a:r>
              <a:rPr lang="en-US" sz="900" baseline="0" dirty="0"/>
              <a:t> about how all the great new value introduced in the above slides comes together in our Office 365 Enterprise suite offerings i</a:t>
            </a:r>
            <a:r>
              <a:rPr lang="en-US" sz="900" dirty="0"/>
              <a:t>ncluding a new premium plan that will deliver the most comprehensive set of productivity, collaboration, analytics, security and compliance capabilities of any Office 365 plan.</a:t>
            </a:r>
          </a:p>
          <a:p>
            <a:endParaRPr lang="en-US" sz="900" baseline="0" dirty="0"/>
          </a:p>
          <a:p>
            <a:r>
              <a:rPr lang="en-US" sz="900" baseline="0" dirty="0"/>
              <a:t>First, please orient your attention to the orange highlights on the left side of the table. The orange highlighting denotes features that are new. Here you can see that we have added great differentiating new feature value in E1 and E3 with Skype Meeting Broadcast added into E1, and DLP and Encryption extended across workloads (SfB and SPO) for E3.</a:t>
            </a:r>
          </a:p>
          <a:p>
            <a:endParaRPr lang="en-US" sz="900" baseline="0" dirty="0"/>
          </a:p>
          <a:p>
            <a:r>
              <a:rPr lang="en-US" sz="900" baseline="0" dirty="0"/>
              <a:t>We’ve reserved the new advanced feature value of security, analytics and new cloud voice and PSTN conferencing capabilities for E5.</a:t>
            </a:r>
          </a:p>
          <a:p>
            <a:pPr marL="171450" indent="-171450">
              <a:buFont typeface="Arial" panose="020B0604020202020204" pitchFamily="34" charset="0"/>
              <a:buChar char="•"/>
            </a:pPr>
            <a:r>
              <a:rPr lang="en-US" sz="900" baseline="0" dirty="0"/>
              <a:t>With regard to security, with the acquisition of Equivio we are including analytics for eDiscovery along with Secure Attachments/URLs with Advanced Threat Protection and Access Control or also known as Customer Lockbox.</a:t>
            </a:r>
          </a:p>
          <a:p>
            <a:pPr marL="628564" marR="0" lvl="1" indent="-171450" algn="l" defTabSz="9142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chemeClr val="tx2"/>
                </a:solidFill>
              </a:rPr>
              <a:t>Machine learning and text analytics with analytic for eDiscovery reduce the costs and risks inherent in managing large quantities of data for eDiscovery</a:t>
            </a:r>
          </a:p>
          <a:p>
            <a:pPr marL="628564" marR="0" lvl="1" indent="-171450" algn="l" defTabSz="9142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chemeClr val="tx2"/>
                </a:solidFill>
              </a:rPr>
              <a:t>Secur</a:t>
            </a:r>
            <a:r>
              <a:rPr lang="en-US" sz="900" baseline="0" dirty="0">
                <a:solidFill>
                  <a:schemeClr val="tx2"/>
                </a:solidFill>
              </a:rPr>
              <a:t>e Attachments/URLs allow you to s</a:t>
            </a:r>
            <a:r>
              <a:rPr lang="en-US" sz="900" dirty="0">
                <a:solidFill>
                  <a:schemeClr val="tx2"/>
                </a:solidFill>
              </a:rPr>
              <a:t>afeguard your organization against unknown threats</a:t>
            </a:r>
          </a:p>
          <a:p>
            <a:pPr marL="628564" marR="0" lvl="1" indent="-171450" algn="l" defTabSz="9142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solidFill>
                  <a:srgbClr val="33302E"/>
                </a:solidFill>
              </a:rPr>
              <a:t>Access Control provides unique and unprecedented transparency and customer control over their content in the cloud</a:t>
            </a:r>
            <a:endParaRPr lang="en-US" sz="900" baseline="0" dirty="0"/>
          </a:p>
          <a:p>
            <a:pPr marL="171450" indent="-171450">
              <a:buFont typeface="Arial" panose="020B0604020202020204" pitchFamily="34" charset="0"/>
              <a:buChar char="•"/>
            </a:pPr>
            <a:r>
              <a:rPr lang="en-US" sz="900" baseline="0" dirty="0"/>
              <a:t>On the Analytics front, we are now providing both end user and organizational analytics with Power BI Pro and Delve Analytics. </a:t>
            </a:r>
          </a:p>
          <a:p>
            <a:pPr marL="628564" lvl="1" indent="-171450">
              <a:buFont typeface="Arial" panose="020B0604020202020204" pitchFamily="34" charset="0"/>
              <a:buChar char="•"/>
            </a:pPr>
            <a:r>
              <a:rPr lang="en-US" sz="900" baseline="0" dirty="0"/>
              <a:t>Power BI Pro enables n</a:t>
            </a:r>
            <a:r>
              <a:rPr lang="en-US" sz="900" dirty="0">
                <a:solidFill>
                  <a:schemeClr val="tx2"/>
                </a:solidFill>
              </a:rPr>
              <a:t>on-technical users to visualize and analyze data with greater speed, efficiency, and understanding with live dashboards and interactive reports.</a:t>
            </a:r>
          </a:p>
          <a:p>
            <a:pPr marL="628564" lvl="1" indent="-171450">
              <a:buFont typeface="Arial" panose="020B0604020202020204" pitchFamily="34" charset="0"/>
              <a:buChar char="•"/>
            </a:pPr>
            <a:r>
              <a:rPr lang="en-US" sz="900" baseline="0" dirty="0">
                <a:solidFill>
                  <a:schemeClr val="tx2"/>
                </a:solidFill>
              </a:rPr>
              <a:t>Delve Analytics includes a</a:t>
            </a:r>
            <a:r>
              <a:rPr lang="en-US" sz="900" dirty="0">
                <a:solidFill>
                  <a:schemeClr val="tx2"/>
                </a:solidFill>
              </a:rPr>
              <a:t> rich interactive dashboard that provides insights into key trends such as reach, influence and work-life balance across an individual and team’s engagement with internal and external teams</a:t>
            </a:r>
          </a:p>
          <a:p>
            <a:pPr marL="171450" lvl="0" indent="-171450">
              <a:buFont typeface="Arial" panose="020B0604020202020204" pitchFamily="34" charset="0"/>
              <a:buChar char="•"/>
            </a:pPr>
            <a:r>
              <a:rPr lang="en-US" sz="900" baseline="0" dirty="0"/>
              <a:t>Finally, we have features to our communications set of features with Cloud PBX and PSTN Conferencing.</a:t>
            </a:r>
          </a:p>
          <a:p>
            <a:pPr marL="628564" lvl="1" indent="-171450">
              <a:buFont typeface="Arial" panose="020B0604020202020204" pitchFamily="34" charset="0"/>
              <a:buChar char="•"/>
            </a:pPr>
            <a:r>
              <a:rPr lang="en-US" sz="900" baseline="0" dirty="0"/>
              <a:t>Cloud PBX – enables </a:t>
            </a:r>
            <a:r>
              <a:rPr lang="en-US" sz="900" dirty="0"/>
              <a:t>customers to</a:t>
            </a:r>
            <a:r>
              <a:rPr lang="en-US" sz="900" baseline="0" dirty="0"/>
              <a:t> </a:t>
            </a:r>
            <a:r>
              <a:rPr lang="en-US" sz="900" dirty="0"/>
              <a:t>eliminate separate PBX systems for information workers with the modern requirements for call management delivered directly from Skype for Business. </a:t>
            </a:r>
            <a:endParaRPr lang="en-US" sz="900" baseline="0" dirty="0"/>
          </a:p>
          <a:p>
            <a:pPr marL="628564" lvl="1" indent="-171450">
              <a:buFont typeface="Arial" panose="020B0604020202020204" pitchFamily="34" charset="0"/>
              <a:buChar char="•"/>
            </a:pPr>
            <a:r>
              <a:rPr lang="en-US" sz="900" baseline="0" dirty="0"/>
              <a:t>PSTN Conferencing – allows </a:t>
            </a:r>
            <a:r>
              <a:rPr lang="en-US" sz="900" dirty="0"/>
              <a:t>meeting</a:t>
            </a:r>
            <a:r>
              <a:rPr lang="en-US" sz="900" baseline="0" dirty="0"/>
              <a:t> </a:t>
            </a:r>
            <a:r>
              <a:rPr lang="en-US" sz="900" dirty="0"/>
              <a:t>attendees to dial-in to Skype meetings from virtually any device</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05006-39C0-45CB-A090-104C625AB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586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This slide has</a:t>
            </a:r>
            <a:r>
              <a:rPr lang="en-US" baseline="0" dirty="0"/>
              <a:t> animation and 4 builds</a:t>
            </a:r>
          </a:p>
          <a:p>
            <a:pPr lvl="0"/>
            <a:r>
              <a:rPr lang="en-US" dirty="0"/>
              <a:t>1</a:t>
            </a:r>
            <a:r>
              <a:rPr lang="en-US" baseline="30000" dirty="0"/>
              <a:t>st</a:t>
            </a:r>
            <a:r>
              <a:rPr lang="en-US" dirty="0"/>
              <a:t> build: It</a:t>
            </a:r>
            <a:r>
              <a:rPr lang="en-US" baseline="0" dirty="0"/>
              <a:t> would cost you $90 per user per month to get comparable capabilities from non-Microsoft products</a:t>
            </a:r>
          </a:p>
          <a:p>
            <a:pPr lvl="0"/>
            <a:r>
              <a:rPr lang="en-US" baseline="0" dirty="0"/>
              <a:t>2</a:t>
            </a:r>
            <a:r>
              <a:rPr lang="en-US" baseline="30000" dirty="0"/>
              <a:t>nd</a:t>
            </a:r>
            <a:r>
              <a:rPr lang="en-US" baseline="0" dirty="0"/>
              <a:t> build: To purchase the incremental capabilities in E5 as standalone products, the cost would be $41/user/month</a:t>
            </a:r>
          </a:p>
          <a:p>
            <a:pPr lvl="0"/>
            <a:r>
              <a:rPr lang="en-US" baseline="0" dirty="0"/>
              <a:t>3</a:t>
            </a:r>
            <a:r>
              <a:rPr lang="en-US" baseline="30000" dirty="0"/>
              <a:t>rd</a:t>
            </a:r>
            <a:r>
              <a:rPr lang="en-US" baseline="0" dirty="0"/>
              <a:t> build: When purchased as a part of E5, the cost is only $15 (in addition to the costs of E3)</a:t>
            </a:r>
          </a:p>
          <a:p>
            <a:pPr lvl="0"/>
            <a:r>
              <a:rPr lang="en-US" baseline="0" dirty="0"/>
              <a:t>4</a:t>
            </a:r>
            <a:r>
              <a:rPr lang="en-US" baseline="30000" dirty="0"/>
              <a:t>th</a:t>
            </a:r>
            <a:r>
              <a:rPr lang="en-US" baseline="0" dirty="0"/>
              <a:t> build: The cost of just the security products of E5 justify the step up. The standalone costs of these capabilities equal $1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rPr>
              <a:t>$8 Advanced eDiscover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rPr>
              <a:t>$2 Advanced Threat Prot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rPr>
              <a:t>$2 Customer Lockbo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rPr>
              <a:t>$3 Advanced Security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endParaRPr>
          </a:p>
          <a:p>
            <a:pPr marL="171450" lvl="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C7AF0D-4CA1-4851-9CE3-2AC50BEAF3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996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Zone 2. </a:t>
            </a:r>
          </a:p>
          <a:p>
            <a:r>
              <a:rPr lang="en-US" dirty="0"/>
              <a:t>Partners and Field sellers will position</a:t>
            </a:r>
            <a:r>
              <a:rPr lang="en-US" baseline="0" dirty="0"/>
              <a:t> E5 as an offer which includes PSTN Conferencing (where available). When </a:t>
            </a:r>
            <a:r>
              <a:rPr lang="en-US" dirty="0"/>
              <a:t>transacting</a:t>
            </a:r>
            <a:r>
              <a:rPr lang="en-US" baseline="0" dirty="0"/>
              <a:t> these E5 orders, need to ensure to add both SKUs to the CPS.</a:t>
            </a:r>
            <a:endParaRPr lang="en-US" dirty="0"/>
          </a:p>
          <a:p>
            <a:endParaRPr lang="en-US" dirty="0"/>
          </a:p>
          <a:p>
            <a:r>
              <a:rPr lang="en-US" dirty="0"/>
              <a:t>While selling</a:t>
            </a:r>
            <a:r>
              <a:rPr lang="en-US" baseline="0" dirty="0"/>
              <a:t> the two SKUs together is not technically enforced or enforced on our licensing,</a:t>
            </a:r>
            <a:r>
              <a:rPr lang="en-US" dirty="0"/>
              <a:t> we should look to help sell and transact PSTN</a:t>
            </a:r>
            <a:r>
              <a:rPr lang="en-US" baseline="0" dirty="0"/>
              <a:t> Conferencing with E5 in the Geos where its possible so we give the customers the best experience.</a:t>
            </a:r>
          </a:p>
          <a:p>
            <a:r>
              <a:rPr lang="en-US" baseline="0" dirty="0"/>
              <a:t>Another important reason for why we should look to help sell and transact the two SKUs together, is because when we reach the future state, we may not have E5 available without PSTN Conferencing. Having the customers with both SKUs from the beginning will enable an easier transition in to the single E5 with PSTN Conferencing SKU.</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C7AF0D-4CA1-4851-9CE3-2AC50BEAF3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491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3</a:t>
            </a:fld>
            <a:endParaRPr lang="en-US"/>
          </a:p>
        </p:txBody>
      </p:sp>
    </p:spTree>
    <p:extLst>
      <p:ext uri="{BB962C8B-B14F-4D97-AF65-F5344CB8AC3E}">
        <p14:creationId xmlns:p14="http://schemas.microsoft.com/office/powerpoint/2010/main" val="16153032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C7AF0D-4CA1-4851-9CE3-2AC50BEAF3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1463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5</a:t>
            </a:fld>
            <a:endParaRPr lang="en-US"/>
          </a:p>
        </p:txBody>
      </p:sp>
    </p:spTree>
    <p:extLst>
      <p:ext uri="{BB962C8B-B14F-4D97-AF65-F5344CB8AC3E}">
        <p14:creationId xmlns:p14="http://schemas.microsoft.com/office/powerpoint/2010/main" val="6115846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6</a:t>
            </a:fld>
            <a:endParaRPr lang="en-US"/>
          </a:p>
        </p:txBody>
      </p:sp>
    </p:spTree>
    <p:extLst>
      <p:ext uri="{BB962C8B-B14F-4D97-AF65-F5344CB8AC3E}">
        <p14:creationId xmlns:p14="http://schemas.microsoft.com/office/powerpoint/2010/main" val="40324627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7</a:t>
            </a:fld>
            <a:endParaRPr lang="en-US"/>
          </a:p>
        </p:txBody>
      </p:sp>
    </p:spTree>
    <p:extLst>
      <p:ext uri="{BB962C8B-B14F-4D97-AF65-F5344CB8AC3E}">
        <p14:creationId xmlns:p14="http://schemas.microsoft.com/office/powerpoint/2010/main" val="18444073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05006-39C0-45CB-A090-104C625AB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0498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a:xfrm>
            <a:off x="1" y="9128422"/>
            <a:ext cx="6324294" cy="374062"/>
          </a:xfrm>
          <a:prstGeom prst="rect">
            <a:avLst/>
          </a:prstGeom>
        </p:spPr>
        <p:txBody>
          <a:bodyPr/>
          <a:lstStyle/>
          <a:p>
            <a:pPr marL="0" marR="0" lvl="0" indent="0" defTabSz="962996"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F1CAD15D-9235-4877-9C36-1FC3158DB235}" type="datetime1">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31774" eaLnBrk="1" fontAlgn="auto" latinLnBrk="0" hangingPunct="1">
                <a:lnSpc>
                  <a:spcPct val="100000"/>
                </a:lnSpc>
                <a:spcBef>
                  <a:spcPts val="0"/>
                </a:spcBef>
                <a:spcAft>
                  <a:spcPts val="0"/>
                </a:spcAft>
                <a:buClrTx/>
                <a:buSzTx/>
                <a:buFontTx/>
                <a:buNone/>
                <a:tabLst/>
                <a:defRPr/>
              </a:pPr>
              <a:t>10/5/2016</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6" name="Slide Number Placeholder 5"/>
          <p:cNvSpPr>
            <a:spLocks noGrp="1"/>
          </p:cNvSpPr>
          <p:nvPr>
            <p:ph type="sldNum" sz="quarter" idx="12"/>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31774"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3448275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buFont typeface="Arial" panose="020B0604020202020204" pitchFamily="34" charset="0"/>
              <a:buChar char="•"/>
            </a:pP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05006-39C0-45CB-A090-104C625AB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009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of this slide is to highlight the multiple PSTN Services offers and identify key differences.</a:t>
            </a:r>
          </a:p>
          <a:p>
            <a:r>
              <a:rPr lang="en-US" dirty="0"/>
              <a:t>PSTN Conferencing:</a:t>
            </a:r>
          </a:p>
          <a:p>
            <a:pPr marL="178027" indent="-178027">
              <a:buFontTx/>
              <a:buChar char="-"/>
            </a:pPr>
            <a:r>
              <a:rPr lang="en-US" dirty="0"/>
              <a:t>This is the offer that comes in E5.</a:t>
            </a:r>
          </a:p>
          <a:p>
            <a:pPr marL="178027" indent="-178027">
              <a:buFontTx/>
              <a:buChar char="-"/>
            </a:pPr>
            <a:r>
              <a:rPr lang="en-US" dirty="0"/>
              <a:t>Included in the USL are unlimited incoming calls to the dial-in number provided and Unlimited domestic dial-out calls (domestic = to calls within the country of the user initiating the conference.)</a:t>
            </a:r>
          </a:p>
          <a:p>
            <a:pPr marL="178027" indent="-178027">
              <a:buFontTx/>
              <a:buChar char="-"/>
            </a:pPr>
            <a:r>
              <a:rPr lang="en-US" dirty="0"/>
              <a:t>Pre-requisite is Skype for Business Online Plan 2 (included in all E suites)</a:t>
            </a:r>
          </a:p>
          <a:p>
            <a:r>
              <a:rPr lang="en-US" dirty="0"/>
              <a:t>PSTN Calling:</a:t>
            </a:r>
          </a:p>
          <a:p>
            <a:pPr marL="178027" indent="-178027">
              <a:buFontTx/>
              <a:buChar char="-"/>
            </a:pPr>
            <a:r>
              <a:rPr lang="en-US" dirty="0"/>
              <a:t>Two plans: one Domestic Only and one Domestic + International</a:t>
            </a:r>
          </a:p>
          <a:p>
            <a:pPr marL="178027" indent="-178027">
              <a:buFontTx/>
              <a:buChar char="-"/>
            </a:pPr>
            <a:r>
              <a:rPr lang="en-US" dirty="0"/>
              <a:t>See slide 15 for excessive minute caps per plan</a:t>
            </a:r>
          </a:p>
          <a:p>
            <a:pPr marL="178027" indent="-178027">
              <a:buFontTx/>
              <a:buChar char="-"/>
            </a:pPr>
            <a:r>
              <a:rPr lang="en-US" dirty="0"/>
              <a:t>This service is not included in E5 but sold as a separate product</a:t>
            </a:r>
          </a:p>
          <a:p>
            <a:pPr marL="178027" indent="-178027">
              <a:buFontTx/>
              <a:buChar char="-"/>
            </a:pPr>
            <a:r>
              <a:rPr lang="en-US" dirty="0"/>
              <a:t>Pre-requisites for this calling plans are Cloud PBX and Skype for Business Plan 2 (both included in E5 but also available for E3, E1 customers</a:t>
            </a:r>
          </a:p>
          <a:p>
            <a:pPr marL="178027" indent="-178027">
              <a:buFontTx/>
              <a:buChar char="-"/>
            </a:pPr>
            <a:r>
              <a:rPr lang="en-US" dirty="0"/>
              <a:t>Both plans include unlimited</a:t>
            </a:r>
            <a:r>
              <a:rPr lang="en-US" baseline="0" dirty="0"/>
              <a:t> inbound minutes</a:t>
            </a:r>
            <a:endParaRPr lang="en-US" dirty="0"/>
          </a:p>
          <a:p>
            <a:pPr marL="178027" indent="-178027">
              <a:buFontTx/>
              <a:buChar char="-"/>
            </a:pPr>
            <a:r>
              <a:rPr lang="en-US" baseline="0" dirty="0"/>
              <a:t>Point out that there are two separate plans and walk through key differences (Int’l calling)</a:t>
            </a:r>
            <a:r>
              <a:rPr lang="en-US" dirty="0"/>
              <a:t> i.e. minutes included in each plan (slide 15)</a:t>
            </a:r>
          </a:p>
          <a:p>
            <a:pPr marL="178027" indent="-178027">
              <a:buFontTx/>
              <a:buChar char="-"/>
            </a:pPr>
            <a:r>
              <a:rPr lang="en-US" baseline="0" dirty="0"/>
              <a:t>Then walk through scenarios, especially bottom right scenario regarding minute limits being reached</a:t>
            </a:r>
            <a:endParaRPr lang="en-US" dirty="0"/>
          </a:p>
          <a:p>
            <a:endParaRPr lang="en-US" dirty="0"/>
          </a:p>
          <a:p>
            <a:r>
              <a:rPr lang="en-US" dirty="0"/>
              <a:t>PSTN Consumption offer enhances calling plans and conferencing with highlighted features</a:t>
            </a:r>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98405006-39C0-45CB-A090-104C625ABA2D}" type="slidenum">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31774"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12792366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of this slide is to highlight the multiple PSTN Services offers and identify key differences.</a:t>
            </a:r>
          </a:p>
          <a:p>
            <a:r>
              <a:rPr lang="en-US" dirty="0"/>
              <a:t>PSTN Conferencing:</a:t>
            </a:r>
          </a:p>
          <a:p>
            <a:pPr marL="178027" indent="-178027">
              <a:buFontTx/>
              <a:buChar char="-"/>
            </a:pPr>
            <a:r>
              <a:rPr lang="en-US" dirty="0"/>
              <a:t>This is the offer that comes in E5.</a:t>
            </a:r>
          </a:p>
          <a:p>
            <a:pPr marL="178027" indent="-178027">
              <a:buFontTx/>
              <a:buChar char="-"/>
            </a:pPr>
            <a:r>
              <a:rPr lang="en-US" dirty="0"/>
              <a:t>Included in the USL are unlimited incoming calls to the dial-in number provided and Unlimited domestic dial-out calls (domestic = to calls within the country of the user initiating the conference.)</a:t>
            </a:r>
          </a:p>
          <a:p>
            <a:pPr marL="178027" indent="-178027">
              <a:buFontTx/>
              <a:buChar char="-"/>
            </a:pPr>
            <a:r>
              <a:rPr lang="en-US" dirty="0"/>
              <a:t>Pre-requisite is Skype for Business Online Plan 2 (included in all E suites)</a:t>
            </a:r>
          </a:p>
          <a:p>
            <a:r>
              <a:rPr lang="en-US" dirty="0"/>
              <a:t>PSTN Calling:</a:t>
            </a:r>
          </a:p>
          <a:p>
            <a:pPr marL="178027" indent="-178027">
              <a:buFontTx/>
              <a:buChar char="-"/>
            </a:pPr>
            <a:r>
              <a:rPr lang="en-US" dirty="0"/>
              <a:t>Two plans: one Domestic Only and one Domestic + International</a:t>
            </a:r>
          </a:p>
          <a:p>
            <a:pPr marL="178027" indent="-178027">
              <a:buFontTx/>
              <a:buChar char="-"/>
            </a:pPr>
            <a:r>
              <a:rPr lang="en-US" dirty="0"/>
              <a:t>See slide 15 for excessive minute caps per plan</a:t>
            </a:r>
          </a:p>
          <a:p>
            <a:pPr marL="178027" indent="-178027">
              <a:buFontTx/>
              <a:buChar char="-"/>
            </a:pPr>
            <a:r>
              <a:rPr lang="en-US" dirty="0"/>
              <a:t>This service is not included in E5 but sold as a separate product</a:t>
            </a:r>
          </a:p>
          <a:p>
            <a:pPr marL="178027" indent="-178027">
              <a:buFontTx/>
              <a:buChar char="-"/>
            </a:pPr>
            <a:r>
              <a:rPr lang="en-US" dirty="0"/>
              <a:t>Pre-requisites for this calling plans are Cloud PBX and Skype for Business Plan 2 (both included in E5 but also available for E3, E1 customers</a:t>
            </a:r>
          </a:p>
          <a:p>
            <a:pPr marL="178027" indent="-178027">
              <a:buFontTx/>
              <a:buChar char="-"/>
            </a:pPr>
            <a:r>
              <a:rPr lang="en-US" dirty="0"/>
              <a:t>Both plans include unlimited</a:t>
            </a:r>
            <a:r>
              <a:rPr lang="en-US" baseline="0" dirty="0"/>
              <a:t> inbound minutes</a:t>
            </a:r>
            <a:endParaRPr lang="en-US" dirty="0"/>
          </a:p>
          <a:p>
            <a:pPr marL="178027" indent="-178027">
              <a:buFontTx/>
              <a:buChar char="-"/>
            </a:pPr>
            <a:r>
              <a:rPr lang="en-US" baseline="0" dirty="0"/>
              <a:t>Point out that there are two separate plans and walk through key differences (Int’l calling)</a:t>
            </a:r>
            <a:r>
              <a:rPr lang="en-US" dirty="0"/>
              <a:t> i.e. minutes included in each plan (slide 15)</a:t>
            </a:r>
          </a:p>
          <a:p>
            <a:pPr marL="178027" indent="-178027">
              <a:buFontTx/>
              <a:buChar char="-"/>
            </a:pPr>
            <a:r>
              <a:rPr lang="en-US" baseline="0" dirty="0"/>
              <a:t>Then walk through scenarios, especially bottom right scenario regarding minute limits being reached</a:t>
            </a:r>
            <a:endParaRPr lang="en-US" dirty="0"/>
          </a:p>
          <a:p>
            <a:endParaRPr lang="en-US" dirty="0"/>
          </a:p>
          <a:p>
            <a:r>
              <a:rPr lang="en-US" dirty="0"/>
              <a:t>PSTN Consumption offer enhances calling plans and conferencing with highlighted features</a:t>
            </a:r>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98405006-39C0-45CB-A090-104C625ABA2D}" type="slidenum">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31774"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2614358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rpose of this slide is to highlight the multiple PSTN Services offers and identify key differences.</a:t>
            </a:r>
          </a:p>
          <a:p>
            <a:r>
              <a:rPr lang="en-US" dirty="0"/>
              <a:t>PSTN Conferencing:</a:t>
            </a:r>
          </a:p>
          <a:p>
            <a:pPr marL="178027" indent="-178027">
              <a:buFontTx/>
              <a:buChar char="-"/>
            </a:pPr>
            <a:r>
              <a:rPr lang="en-US" dirty="0"/>
              <a:t>This is the offer that comes in E5.</a:t>
            </a:r>
          </a:p>
          <a:p>
            <a:pPr marL="178027" indent="-178027">
              <a:buFontTx/>
              <a:buChar char="-"/>
            </a:pPr>
            <a:r>
              <a:rPr lang="en-US" dirty="0"/>
              <a:t>Included in the USL are unlimited incoming calls to the dial-in number provided and Unlimited domestic dial-out calls (domestic = to calls within the country of the user initiating the conference.)</a:t>
            </a:r>
          </a:p>
          <a:p>
            <a:pPr marL="178027" indent="-178027">
              <a:buFontTx/>
              <a:buChar char="-"/>
            </a:pPr>
            <a:r>
              <a:rPr lang="en-US" dirty="0"/>
              <a:t>Pre-requisite is Skype for Business Online Plan 2 (included in all E suites)</a:t>
            </a:r>
          </a:p>
          <a:p>
            <a:r>
              <a:rPr lang="en-US" dirty="0"/>
              <a:t>PSTN Calling:</a:t>
            </a:r>
          </a:p>
          <a:p>
            <a:pPr marL="178027" indent="-178027">
              <a:buFontTx/>
              <a:buChar char="-"/>
            </a:pPr>
            <a:r>
              <a:rPr lang="en-US" dirty="0"/>
              <a:t>Two plans: one Domestic Only and one Domestic + International</a:t>
            </a:r>
          </a:p>
          <a:p>
            <a:pPr marL="178027" indent="-178027">
              <a:buFontTx/>
              <a:buChar char="-"/>
            </a:pPr>
            <a:r>
              <a:rPr lang="en-US" dirty="0"/>
              <a:t>See slide 15 for excessive minute caps per plan</a:t>
            </a:r>
          </a:p>
          <a:p>
            <a:pPr marL="178027" indent="-178027">
              <a:buFontTx/>
              <a:buChar char="-"/>
            </a:pPr>
            <a:r>
              <a:rPr lang="en-US" dirty="0"/>
              <a:t>This service is not included in E5 but sold as a separate product</a:t>
            </a:r>
          </a:p>
          <a:p>
            <a:pPr marL="178027" indent="-178027">
              <a:buFontTx/>
              <a:buChar char="-"/>
            </a:pPr>
            <a:r>
              <a:rPr lang="en-US" dirty="0"/>
              <a:t>Pre-requisites for this calling plans are Cloud PBX and Skype for Business Plan 2 (both included in E5 but also available for E3, E1 customers</a:t>
            </a:r>
          </a:p>
          <a:p>
            <a:pPr marL="178027" indent="-178027">
              <a:buFontTx/>
              <a:buChar char="-"/>
            </a:pPr>
            <a:r>
              <a:rPr lang="en-US" dirty="0"/>
              <a:t>Both plans include unlimited</a:t>
            </a:r>
            <a:r>
              <a:rPr lang="en-US" baseline="0" dirty="0"/>
              <a:t> inbound minutes</a:t>
            </a:r>
            <a:endParaRPr lang="en-US" dirty="0"/>
          </a:p>
          <a:p>
            <a:pPr marL="178027" indent="-178027">
              <a:buFontTx/>
              <a:buChar char="-"/>
            </a:pPr>
            <a:r>
              <a:rPr lang="en-US" baseline="0" dirty="0"/>
              <a:t>Point out that there are two separate plans and walk through key differences (Int’l calling)</a:t>
            </a:r>
            <a:r>
              <a:rPr lang="en-US" dirty="0"/>
              <a:t> i.e. minutes included in each plan (slide 15)</a:t>
            </a:r>
          </a:p>
          <a:p>
            <a:pPr marL="178027" indent="-178027">
              <a:buFontTx/>
              <a:buChar char="-"/>
            </a:pPr>
            <a:r>
              <a:rPr lang="en-US" baseline="0" dirty="0"/>
              <a:t>Then walk through scenarios, especially bottom right scenario regarding minute limits being reached</a:t>
            </a:r>
            <a:endParaRPr lang="en-US" dirty="0"/>
          </a:p>
          <a:p>
            <a:endParaRPr lang="en-US" dirty="0"/>
          </a:p>
          <a:p>
            <a:r>
              <a:rPr lang="en-US" dirty="0"/>
              <a:t>PSTN Consumption offer enhances calling plans and conferencing with highlighted features</a:t>
            </a:r>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98405006-39C0-45CB-A090-104C625ABA2D}" type="slidenum">
              <a:rPr kumimoji="0" lang="en-US" sz="1800" b="0" i="0" u="none" strike="noStrike" kern="0" cap="none" spc="0" normalizeH="0" baseline="0" noProof="0">
                <a:ln>
                  <a:noFill/>
                </a:ln>
                <a:solidFill>
                  <a:prstClr val="black"/>
                </a:solidFill>
                <a:effectLst/>
                <a:uLnTx/>
                <a:uFillTx/>
                <a:latin typeface="Calibri" panose="020F0502020204030204"/>
              </a:rPr>
              <a:pPr marL="0" marR="0" lvl="0" indent="0" defTabSz="931774"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2079940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05006-39C0-45CB-A090-104C625AB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8358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sz="1000"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5/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26409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With Office 365 E5, Microsoft delivers its most comprehensive, secure cloud productivity and communications capabilities for enterprise customers. </a:t>
            </a:r>
          </a:p>
          <a:p>
            <a:endParaRPr lang="en-US" dirty="0">
              <a:latin typeface="Segoe UI" panose="020B0502040204020203" pitchFamily="34" charset="0"/>
            </a:endParaRPr>
          </a:p>
          <a:p>
            <a:pPr marL="171450" indent="-171450">
              <a:buFont typeface="Arial" panose="020B0604020202020204" pitchFamily="34" charset="0"/>
              <a:buChar char="•"/>
            </a:pPr>
            <a:r>
              <a:rPr lang="en-US" b="1" dirty="0"/>
              <a:t>Provide Enterprise Protection </a:t>
            </a:r>
            <a:r>
              <a:rPr lang="en-US" dirty="0"/>
              <a:t>to </a:t>
            </a:r>
            <a:r>
              <a:rPr lang="en-US" b="1" dirty="0"/>
              <a:t>reduce risk </a:t>
            </a:r>
            <a:r>
              <a:rPr lang="en-US" dirty="0"/>
              <a:t>for your enterprise</a:t>
            </a:r>
            <a:r>
              <a:rPr lang="en-US" dirty="0">
                <a:latin typeface="Segoe UI" panose="020B0502040204020203" pitchFamily="34" charset="0"/>
              </a:rPr>
              <a:t>. As part of our people-centric approach to the cloud, we’ve implemented new capabilities as part of the tools you use every day to boost our security, privacy, compliance and transparency commitments. Those capabilities are </a:t>
            </a:r>
            <a:r>
              <a:rPr lang="en-US" dirty="0"/>
              <a:t>Advanced Threat Protection</a:t>
            </a:r>
            <a:r>
              <a:rPr lang="en-US" dirty="0">
                <a:latin typeface="Segoe UI" panose="020B0502040204020203" pitchFamily="34" charset="0"/>
              </a:rPr>
              <a:t>, Advanced Security Management, </a:t>
            </a:r>
            <a:r>
              <a:rPr lang="en-US" dirty="0"/>
              <a:t>Customer Lockbox</a:t>
            </a:r>
            <a:r>
              <a:rPr lang="en-US" dirty="0">
                <a:latin typeface="Segoe UI" panose="020B0502040204020203" pitchFamily="34" charset="0"/>
              </a:rPr>
              <a:t>, and Advanced eDiscovery.</a:t>
            </a:r>
          </a:p>
          <a:p>
            <a:pPr marL="171450" indent="-171450">
              <a:buFont typeface="Arial" panose="020B0604020202020204" pitchFamily="34" charset="0"/>
              <a:buChar char="•"/>
            </a:pPr>
            <a:r>
              <a:rPr lang="en-US" b="1" dirty="0"/>
              <a:t>Deliver Insights for Everyone </a:t>
            </a:r>
            <a:r>
              <a:rPr lang="en-US" dirty="0"/>
              <a:t>that help unlock data to help everyone make </a:t>
            </a:r>
            <a:r>
              <a:rPr lang="en-US" b="1" dirty="0">
                <a:latin typeface="Segoe UI" panose="020B0502040204020203" pitchFamily="34" charset="0"/>
              </a:rPr>
              <a:t>better decisions</a:t>
            </a:r>
            <a:r>
              <a:rPr lang="en-US" dirty="0">
                <a:latin typeface="Segoe UI" panose="020B0502040204020203" pitchFamily="34" charset="0"/>
              </a:rPr>
              <a:t>. Gain a deeper understanding of your business through Microsoft Analytics solutions. Power BI lets you pull together data from various sources to create simple dashboards and compelling visualizations to make the best business and strategic decisions. Delve Analytics enables your employees to understand where they spend their time and the changes they can make to be more effective and productive at their jobs every day.</a:t>
            </a:r>
          </a:p>
          <a:p>
            <a:pPr marL="171450" indent="-171450">
              <a:buFont typeface="Arial" panose="020B0604020202020204" pitchFamily="34" charset="0"/>
              <a:buChar char="•"/>
            </a:pPr>
            <a:r>
              <a:rPr lang="en-US" b="1" dirty="0"/>
              <a:t>Provide Complete Cloud Communication </a:t>
            </a:r>
            <a:r>
              <a:rPr lang="en-US" dirty="0"/>
              <a:t>and </a:t>
            </a:r>
            <a:r>
              <a:rPr lang="en-US" b="1" dirty="0"/>
              <a:t>reduce </a:t>
            </a:r>
            <a:r>
              <a:rPr lang="en-US" b="1" dirty="0">
                <a:latin typeface="Segoe UI" panose="020B0502040204020203" pitchFamily="34" charset="0"/>
              </a:rPr>
              <a:t>costs </a:t>
            </a:r>
            <a:r>
              <a:rPr lang="en-US" dirty="0"/>
              <a:t>with a single platform for Voice and meetings</a:t>
            </a:r>
            <a:r>
              <a:rPr lang="en-US" dirty="0">
                <a:latin typeface="Segoe UI" panose="020B0502040204020203" pitchFamily="34" charset="0"/>
              </a:rPr>
              <a:t>. You can potentially save millions of dollars by eliminating third-party conferencing and phone charges and PBX maintenance charges by implementing the integrated voice capabilities of Skype for Business, including PSTN Conferencing, Cloud PBX, and PSTN Calling.</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rPr>
              <a:t>PRISM FY17</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0/5/2016 12:22 PM</a:t>
            </a:fld>
            <a:endPar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ndParaRPr>
          </a:p>
        </p:txBody>
      </p:sp>
    </p:spTree>
    <p:extLst>
      <p:ext uri="{BB962C8B-B14F-4D97-AF65-F5344CB8AC3E}">
        <p14:creationId xmlns:p14="http://schemas.microsoft.com/office/powerpoint/2010/main" val="633103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The number of security threats</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facing organizations is increasing every year. With Office 365 E5, Microsoft offers Advanced Enterprise Protection to reduce risk. We handle your security, so you don’t have to. </a:t>
            </a:r>
          </a:p>
          <a:p>
            <a:endPar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a:p>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Microsoft has a new Security Posture as outlined by Satya Nadella:</a:t>
            </a:r>
          </a:p>
          <a:p>
            <a:pPr marL="228600" indent="-228600">
              <a:buAutoNum type="arabicParenR"/>
            </a:pPr>
            <a:r>
              <a:rPr lang="en-US" sz="1200" b="1"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Protect</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your network across all endpoints, from sensors to the datacenter </a:t>
            </a:r>
          </a:p>
          <a:p>
            <a:pPr marL="228600" indent="-228600">
              <a:buAutoNum type="arabicParenR"/>
            </a:pPr>
            <a:r>
              <a:rPr lang="en-US" sz="1200" b="1"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Detect</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threats using targeted signals, behavioral monitoring, and machine learning </a:t>
            </a:r>
          </a:p>
          <a:p>
            <a:pPr marL="228600" indent="-228600">
              <a:buAutoNum type="arabicParenR"/>
            </a:pPr>
            <a:r>
              <a:rPr lang="en-US" sz="1200" b="1"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Respond</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quickly, closing the gap between discovery and action. </a:t>
            </a:r>
            <a:endPar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a:p>
            <a:endPar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E5 capabilities</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provide you with </a:t>
            </a:r>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even more control with increased privacy, transparency, and refined user controls.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Protect</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against malware and viruses (Advanced Threat Protection)</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Gain enhanced visibility into security (Advanced Security Management)</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Maintain control over your data</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in the cloud even when your service needs to make changes to respond to security incidents (Customer Lockbox)</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Simplify eDiscovery (Advanced eDiscovery)</a:t>
            </a:r>
            <a:endPar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a:p>
            <a:endPar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a:p>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All of these are designed to reduce</a:t>
            </a:r>
            <a:r>
              <a:rPr lang="en-US" sz="1200" kern="1200" baseline="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 the risk that your organization faces.</a:t>
            </a:r>
            <a:endPar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a:p>
            <a:endPar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a:p>
            <a:r>
              <a:rPr lang="en-US" sz="1200" dirty="0">
                <a:latin typeface="Segoe UI" panose="020B0502040204020203" pitchFamily="34" charset="0"/>
                <a:cs typeface="Segoe UI" panose="020B0502040204020203" pitchFamily="34" charset="0"/>
              </a:rPr>
              <a:t>----------------------------------------------------------------------------------------------------------------------------------------------------------------------------------</a:t>
            </a:r>
          </a:p>
          <a:p>
            <a:pPr marL="0" marR="0" indent="0" algn="l" defTabSz="914314"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Segoe UI" panose="020B0502040204020203" pitchFamily="34" charset="0"/>
                <a:cs typeface="Segoe UI" panose="020B0502040204020203" pitchFamily="34" charset="0"/>
              </a:rPr>
              <a:t>Data point from Symantec “Internet Security Threat Report”, 2015</a:t>
            </a:r>
          </a:p>
          <a:p>
            <a:pPr marL="0" marR="0" indent="0" algn="l" defTabSz="914314"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http://symantec.postclickmarketing.com/ISTR20?cid=70150000000dkPwAAI</a:t>
            </a:r>
          </a:p>
          <a:p>
            <a:pPr marL="0" marR="0" indent="0" algn="l" defTabSz="914314" rtl="0" eaLnBrk="1" fontAlgn="auto" latinLnBrk="0" hangingPunct="1">
              <a:lnSpc>
                <a:spcPct val="100000"/>
              </a:lnSpc>
              <a:spcBef>
                <a:spcPts val="0"/>
              </a:spcBef>
              <a:spcAft>
                <a:spcPts val="0"/>
              </a:spcAft>
              <a:buClrTx/>
              <a:buSzTx/>
              <a:buFontTx/>
              <a:buNone/>
              <a:tabLst/>
              <a:defRPr/>
            </a:pPr>
            <a:endParaRPr lang="en-US" sz="1200" i="1" dirty="0">
              <a:solidFill>
                <a:schemeClr val="bg1"/>
              </a:solidFill>
              <a:latin typeface="Segoe UI" panose="020B0502040204020203" pitchFamily="34" charset="0"/>
              <a:cs typeface="Segoe UI" panose="020B0502040204020203" pitchFamily="34" charset="0"/>
            </a:endParaRPr>
          </a:p>
          <a:p>
            <a:r>
              <a:rPr lang="en-US" sz="1200" dirty="0">
                <a:latin typeface="Segoe UI" panose="020B0502040204020203" pitchFamily="34" charset="0"/>
                <a:cs typeface="Segoe UI" panose="020B0502040204020203" pitchFamily="34" charset="0"/>
              </a:rPr>
              <a:t>Sungard quote was a part of E5 Launch approved quotes. It is not a part of a customer quote. Please contact Nadine Salem if you have any questions about usage of this quote. </a:t>
            </a:r>
          </a:p>
          <a:p>
            <a:endPar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endParaRPr>
          </a:p>
        </p:txBody>
      </p:sp>
      <p:sp>
        <p:nvSpPr>
          <p:cNvPr id="4" name="Slide Number Placeholder 3"/>
          <p:cNvSpPr>
            <a:spLocks noGrp="1"/>
          </p:cNvSpPr>
          <p:nvPr>
            <p:ph type="sldNum" sz="quarter" idx="10"/>
          </p:nvPr>
        </p:nvSpPr>
        <p:spPr/>
        <p:txBody>
          <a:bodyPr/>
          <a:lstStyle/>
          <a:p>
            <a:fld id="{4B03FD98-CD5B-4ADD-8DA6-FE36A8C66EA7}" type="slidenum">
              <a:rPr lang="en-US" smtClean="0">
                <a:solidFill>
                  <a:srgbClr val="505050"/>
                </a:solidFill>
              </a:rPr>
              <a:pPr/>
              <a:t>4</a:t>
            </a:fld>
            <a:endParaRPr lang="en-US" dirty="0">
              <a:solidFill>
                <a:srgbClr val="505050"/>
              </a:solidFill>
            </a:endParaRPr>
          </a:p>
        </p:txBody>
      </p:sp>
    </p:spTree>
    <p:extLst>
      <p:ext uri="{BB962C8B-B14F-4D97-AF65-F5344CB8AC3E}">
        <p14:creationId xmlns:p14="http://schemas.microsoft.com/office/powerpoint/2010/main" val="3298778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Take a closer look</a:t>
            </a:r>
            <a:r>
              <a:rPr lang="en-US" baseline="0" dirty="0">
                <a:latin typeface="Segoe UI" panose="020B0502040204020203" pitchFamily="34" charset="0"/>
              </a:rPr>
              <a:t> at E5 security and compliance capabilities that c</a:t>
            </a:r>
            <a:r>
              <a:rPr lang="en-US" dirty="0">
                <a:latin typeface="Segoe UI" panose="020B0502040204020203" pitchFamily="34" charset="0"/>
              </a:rPr>
              <a:t>ontinue Microsoft’s deep investments in security</a:t>
            </a:r>
          </a:p>
          <a:p>
            <a:pPr>
              <a:buFont typeface="Arial" panose="020B0604020202020204" pitchFamily="34" charset="0"/>
              <a:buNone/>
              <a:defRPr/>
            </a:pPr>
            <a:endParaRPr lang="en-US" dirty="0">
              <a:latin typeface="Segoe UI" panose="020B0502040204020203" pitchFamily="34" charset="0"/>
            </a:endParaRPr>
          </a:p>
          <a:p>
            <a:pPr>
              <a:buFont typeface="Arial" panose="020B0604020202020204" pitchFamily="34" charset="0"/>
              <a:buNone/>
              <a:defRPr/>
            </a:pPr>
            <a:r>
              <a:rPr lang="en-US" b="1" dirty="0">
                <a:latin typeface="Segoe UI" panose="020B0502040204020203" pitchFamily="34" charset="0"/>
              </a:rPr>
              <a:t>Advanced Threat</a:t>
            </a:r>
            <a:r>
              <a:rPr lang="en-US" b="1" baseline="0" dirty="0">
                <a:latin typeface="Segoe UI" panose="020B0502040204020203" pitchFamily="34" charset="0"/>
              </a:rPr>
              <a:t> Protection (ATP)</a:t>
            </a:r>
            <a:endParaRPr lang="en-US" b="1" dirty="0">
              <a:latin typeface="Segoe UI" panose="020B0502040204020203" pitchFamily="34" charset="0"/>
            </a:endParaRPr>
          </a:p>
          <a:p>
            <a:r>
              <a:rPr lang="en-US" dirty="0">
                <a:latin typeface="Segoe UI" panose="020B0502040204020203" pitchFamily="34" charset="0"/>
              </a:rPr>
              <a:t>With Office 365, you gain </a:t>
            </a:r>
            <a:r>
              <a:rPr lang="en-US" b="1" dirty="0">
                <a:latin typeface="Segoe UI" panose="020B0502040204020203" pitchFamily="34" charset="0"/>
              </a:rPr>
              <a:t>advanced protection against unknown and sophisticated threats in end-user email, attachments, and URLs</a:t>
            </a:r>
            <a:r>
              <a:rPr lang="en-US" dirty="0">
                <a:latin typeface="Segoe UI" panose="020B0502040204020203" pitchFamily="34" charset="0"/>
              </a:rPr>
              <a:t>. ATP includes three key capabilities:</a:t>
            </a:r>
            <a:endParaRPr lang="en-US" b="1" dirty="0">
              <a:solidFill>
                <a:schemeClr val="tx2"/>
              </a:solidFill>
              <a:latin typeface="Segoe UI" panose="020B0502040204020203" pitchFamily="34" charset="0"/>
            </a:endParaRPr>
          </a:p>
          <a:p>
            <a:pPr marL="171450" indent="-171450">
              <a:buFont typeface="Arial" panose="020B0604020202020204" pitchFamily="34" charset="0"/>
              <a:buChar char="•"/>
            </a:pPr>
            <a:r>
              <a:rPr lang="en-US" b="1" dirty="0">
                <a:solidFill>
                  <a:schemeClr val="tx2"/>
                </a:solidFill>
                <a:latin typeface="Segoe UI" panose="020B0502040204020203" pitchFamily="34" charset="0"/>
              </a:rPr>
              <a:t>Safe Attachments</a:t>
            </a:r>
            <a:r>
              <a:rPr lang="en-US" dirty="0">
                <a:solidFill>
                  <a:schemeClr val="tx2"/>
                </a:solidFill>
                <a:latin typeface="Segoe UI" panose="020B0502040204020203" pitchFamily="34" charset="0"/>
              </a:rPr>
              <a:t> protect against unknown malware and viruses</a:t>
            </a:r>
            <a:r>
              <a:rPr lang="en-US" baseline="0" dirty="0">
                <a:solidFill>
                  <a:schemeClr val="tx2"/>
                </a:solidFill>
                <a:latin typeface="Segoe UI" panose="020B0502040204020203" pitchFamily="34" charset="0"/>
              </a:rPr>
              <a:t> by </a:t>
            </a:r>
            <a:r>
              <a:rPr lang="en-US" dirty="0">
                <a:solidFill>
                  <a:schemeClr val="tx2"/>
                </a:solidFill>
                <a:latin typeface="Segoe UI" panose="020B0502040204020203" pitchFamily="34" charset="0"/>
              </a:rPr>
              <a:t>opening documents attached to emails in cordoned-off virtual environments (VM’s) to detect malicious behavior.</a:t>
            </a:r>
          </a:p>
          <a:p>
            <a:pPr marL="171450" indent="-171450">
              <a:buFont typeface="Arial" panose="020B0604020202020204" pitchFamily="34" charset="0"/>
              <a:buChar char="•"/>
            </a:pPr>
            <a:r>
              <a:rPr lang="en-US" b="1" dirty="0">
                <a:solidFill>
                  <a:schemeClr val="tx2"/>
                </a:solidFill>
                <a:latin typeface="Segoe UI" panose="020B0502040204020203" pitchFamily="34" charset="0"/>
              </a:rPr>
              <a:t>Safe Links </a:t>
            </a:r>
            <a:r>
              <a:rPr lang="en-US" dirty="0">
                <a:solidFill>
                  <a:schemeClr val="tx2"/>
                </a:solidFill>
                <a:latin typeface="Segoe UI" panose="020B0502040204020203" pitchFamily="34" charset="0"/>
              </a:rPr>
              <a:t>provide real time, time-of-click protection against malicious URLs by wrapping external links in special URLs that check the destination URL for threats before opening them.</a:t>
            </a:r>
          </a:p>
          <a:p>
            <a:pPr marL="171450" indent="-171450">
              <a:buFont typeface="Arial" panose="020B0604020202020204" pitchFamily="34" charset="0"/>
              <a:buChar char="•"/>
            </a:pPr>
            <a:r>
              <a:rPr lang="en-US" b="1" dirty="0">
                <a:solidFill>
                  <a:schemeClr val="tx2"/>
                </a:solidFill>
                <a:latin typeface="Segoe UI" panose="020B0502040204020203" pitchFamily="34" charset="0"/>
              </a:rPr>
              <a:t>Click Trace</a:t>
            </a:r>
            <a:r>
              <a:rPr lang="en-US" dirty="0">
                <a:solidFill>
                  <a:schemeClr val="tx2"/>
                </a:solidFill>
                <a:latin typeface="Segoe UI" panose="020B0502040204020203" pitchFamily="34" charset="0"/>
              </a:rPr>
              <a:t> provides rich reporting and URL trace capabilities by keeping a record of every user who has clicked on a Safe Link-wrapped URL for additional protection.</a:t>
            </a:r>
          </a:p>
          <a:p>
            <a:pPr>
              <a:buFont typeface="Arial" panose="020B0604020202020204" pitchFamily="34" charset="0"/>
              <a:buNone/>
              <a:defRPr/>
            </a:pPr>
            <a:endParaRPr lang="en-US" dirty="0">
              <a:latin typeface="Segoe UI" panose="020B0502040204020203" pitchFamily="34" charset="0"/>
            </a:endParaRPr>
          </a:p>
          <a:p>
            <a:pPr>
              <a:buFont typeface="Arial" panose="020B0604020202020204" pitchFamily="34" charset="0"/>
              <a:buNone/>
              <a:defRPr/>
            </a:pPr>
            <a:r>
              <a:rPr lang="en-US" b="1" baseline="0" dirty="0">
                <a:latin typeface="Segoe UI" panose="020B0502040204020203" pitchFamily="34" charset="0"/>
              </a:rPr>
              <a:t>Advanced Security Manage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0" cap="none" spc="0" normalizeH="0" baseline="0" noProof="0" dirty="0">
                <a:ln>
                  <a:noFill/>
                </a:ln>
                <a:solidFill>
                  <a:sysClr val="windowText" lastClr="000000"/>
                </a:solidFill>
                <a:effectLst/>
                <a:uLnTx/>
                <a:uFillTx/>
              </a:rPr>
              <a:t>With the Advanced Security Management capabilities in Office 365, your security administrators have access to the granular controls and policies they need to monitor access and reduce the possibility of atta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ysClr val="windowText" lastClr="000000"/>
                </a:solidFill>
                <a:effectLst/>
                <a:uLnTx/>
                <a:uFillTx/>
                <a:cs typeface="Segoe UI Light" panose="020B0502040204020203" pitchFamily="34" charset="0"/>
              </a:rPr>
              <a:t>Advanced Security Alerts</a:t>
            </a:r>
            <a:r>
              <a:rPr kumimoji="0" lang="en-US" sz="1200" b="0" i="0" u="none" strike="noStrike" kern="0" cap="none" spc="0" normalizeH="0" baseline="0" noProof="0" dirty="0">
                <a:ln>
                  <a:noFill/>
                </a:ln>
                <a:solidFill>
                  <a:sysClr val="windowText" lastClr="000000"/>
                </a:solidFill>
                <a:effectLst/>
                <a:uLnTx/>
                <a:uFillTx/>
                <a:cs typeface="Segoe UI Light" panose="020B0502040204020203" pitchFamily="34" charset="0"/>
              </a:rPr>
              <a:t>. Admins can use General Anomaly Detection alerts and granular activity policies to react quickly to suspicious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ysClr val="windowText" lastClr="000000"/>
                </a:solidFill>
                <a:effectLst/>
                <a:uLnTx/>
                <a:uFillTx/>
                <a:cs typeface="Segoe UI Light" panose="020B0502040204020203" pitchFamily="34" charset="0"/>
              </a:rPr>
              <a:t>App Permissions </a:t>
            </a:r>
            <a:r>
              <a:rPr kumimoji="0" lang="en-US" sz="1200" b="0" i="0" u="none" strike="noStrike" kern="0" cap="none" spc="0" normalizeH="0" baseline="0" noProof="0" dirty="0">
                <a:ln>
                  <a:noFill/>
                </a:ln>
                <a:solidFill>
                  <a:sysClr val="windowText" lastClr="000000"/>
                </a:solidFill>
                <a:effectLst/>
                <a:uLnTx/>
                <a:uFillTx/>
                <a:cs typeface="Segoe UI Light" panose="020B0502040204020203" pitchFamily="34" charset="0"/>
              </a:rPr>
              <a:t>enable IT to approve or revoke access for third-party apps or services that users authorize to connect to Office 36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ysClr val="windowText" lastClr="000000"/>
                </a:solidFill>
                <a:effectLst/>
                <a:uLnTx/>
                <a:uFillTx/>
                <a:cs typeface="Segoe UI Light" panose="020B0502040204020203" pitchFamily="34" charset="0"/>
              </a:rPr>
              <a:t>Cloud App Discovery </a:t>
            </a:r>
            <a:r>
              <a:rPr kumimoji="0" lang="en-US" sz="1200" b="0" i="0" u="none" strike="noStrike" kern="0" cap="none" spc="0" normalizeH="0" baseline="0" noProof="0" dirty="0">
                <a:ln>
                  <a:noFill/>
                </a:ln>
                <a:solidFill>
                  <a:sysClr val="windowText" lastClr="000000"/>
                </a:solidFill>
                <a:effectLst/>
                <a:uLnTx/>
                <a:uFillTx/>
                <a:cs typeface="Segoe UI Light" panose="020B0502040204020203" pitchFamily="34" charset="0"/>
              </a:rPr>
              <a:t>enables IT to monitor what cloud services users connect to, so they can gain insights, identify anomalies, and manage risky behavior.</a:t>
            </a:r>
            <a:endParaRPr lang="en-US" dirty="0">
              <a:latin typeface="Segoe UI" panose="020B0502040204020203" pitchFamily="34" charset="0"/>
            </a:endParaRPr>
          </a:p>
          <a:p>
            <a:pPr>
              <a:buFont typeface="Arial" panose="020B0604020202020204" pitchFamily="34" charset="0"/>
              <a:buNone/>
              <a:defRPr/>
            </a:pPr>
            <a:endParaRPr lang="en-US" dirty="0">
              <a:latin typeface="Segoe UI" panose="020B0502040204020203" pitchFamily="34" charset="0"/>
            </a:endParaRPr>
          </a:p>
          <a:p>
            <a:r>
              <a:rPr lang="en-US" b="1" dirty="0">
                <a:latin typeface="Segoe UI" panose="020B0502040204020203" pitchFamily="34" charset="0"/>
              </a:rPr>
              <a:t>Customer Lockbox</a:t>
            </a:r>
          </a:p>
          <a:p>
            <a:r>
              <a:rPr lang="en-US" dirty="0">
                <a:latin typeface="Segoe UI" panose="020B0502040204020203" pitchFamily="34" charset="0"/>
              </a:rPr>
              <a:t>Providing security, transparency, and compliance in Office 365 is our top priority. Customer Lockbox for Office 365 can help you meet compliance obligations, such as HIPPA and </a:t>
            </a:r>
            <a:r>
              <a:rPr lang="en-US" dirty="0" err="1">
                <a:latin typeface="Segoe UI" panose="020B0502040204020203" pitchFamily="34" charset="0"/>
              </a:rPr>
              <a:t>FedRAMP</a:t>
            </a:r>
            <a:r>
              <a:rPr lang="en-US" dirty="0">
                <a:latin typeface="Segoe UI" panose="020B0502040204020203" pitchFamily="34" charset="0"/>
              </a:rPr>
              <a:t>, by demonstrating that they have procedures in place for explicit data access authorization.  In the rare instance when a Microsoft service engineer needs access to your data, you grant that access only to data required to resolve the issue and for a limited amount of time. Additionally, those actions taken by the support engineer are logged for auditing purposes and are accessible via the management Activity API and the Security and Compliance Center.</a:t>
            </a:r>
          </a:p>
          <a:p>
            <a:endParaRPr lang="en-US" b="1" dirty="0">
              <a:latin typeface="Segoe UI" panose="020B0502040204020203" pitchFamily="34" charset="0"/>
            </a:endParaRPr>
          </a:p>
          <a:p>
            <a:pPr>
              <a:buFont typeface="Arial" panose="020B0604020202020204" pitchFamily="34" charset="0"/>
              <a:buNone/>
              <a:defRPr/>
            </a:pPr>
            <a:r>
              <a:rPr lang="en-US" b="1" baseline="0" dirty="0">
                <a:latin typeface="Segoe UI" panose="020B0502040204020203" pitchFamily="34" charset="0"/>
              </a:rPr>
              <a:t>Advanced </a:t>
            </a:r>
            <a:r>
              <a:rPr lang="en-US" b="1" dirty="0">
                <a:latin typeface="Segoe UI" panose="020B0502040204020203" pitchFamily="34" charset="0"/>
              </a:rPr>
              <a:t>eDiscover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solidFill>
                  <a:schemeClr val="tx2"/>
                </a:solidFill>
                <a:latin typeface="Segoe UI" panose="020B0502040204020203" pitchFamily="34" charset="0"/>
              </a:rPr>
              <a:t>Finally, </a:t>
            </a:r>
            <a:r>
              <a:rPr lang="en-US" b="1" dirty="0">
                <a:solidFill>
                  <a:schemeClr val="tx2"/>
                </a:solidFill>
                <a:latin typeface="Segoe UI" panose="020B0502040204020203" pitchFamily="34" charset="0"/>
              </a:rPr>
              <a:t>Office 365 Advanced eDiscovery simplifies the eDiscovery process across your email and document repositories</a:t>
            </a:r>
            <a:r>
              <a:rPr lang="en-US" dirty="0">
                <a:solidFill>
                  <a:schemeClr val="tx2"/>
                </a:solidFill>
                <a:latin typeface="Segoe UI" panose="020B0502040204020203" pitchFamily="34" charset="0"/>
              </a:rPr>
              <a:t>. </a:t>
            </a:r>
            <a:r>
              <a:rPr lang="en-US" sz="1200" kern="1200" dirty="0">
                <a:solidFill>
                  <a:schemeClr val="tx1"/>
                </a:solidFill>
                <a:effectLst/>
                <a:latin typeface="Segoe UI" panose="020B0502040204020203" pitchFamily="34" charset="0"/>
                <a:ea typeface="+mn-ea"/>
                <a:cs typeface="+mn-cs"/>
              </a:rPr>
              <a:t>It </a:t>
            </a:r>
            <a:r>
              <a:rPr lang="en-US" sz="1200" kern="1200" baseline="0" dirty="0">
                <a:solidFill>
                  <a:schemeClr val="tx1"/>
                </a:solidFill>
                <a:effectLst/>
                <a:latin typeface="Segoe UI" panose="020B0502040204020203" pitchFamily="34" charset="0"/>
                <a:ea typeface="+mn-ea"/>
                <a:cs typeface="+mn-cs"/>
              </a:rPr>
              <a:t>leverages </a:t>
            </a:r>
            <a:r>
              <a:rPr lang="en-US" sz="1200" kern="1200" dirty="0">
                <a:solidFill>
                  <a:schemeClr val="tx1"/>
                </a:solidFill>
                <a:effectLst/>
                <a:latin typeface="Segoe UI" panose="020B0502040204020203" pitchFamily="34" charset="0"/>
                <a:ea typeface="+mn-ea"/>
                <a:cs typeface="+mn-cs"/>
              </a:rPr>
              <a:t>machine learning to help</a:t>
            </a:r>
            <a:r>
              <a:rPr lang="en-US" sz="1200" kern="1200" baseline="0" dirty="0">
                <a:solidFill>
                  <a:schemeClr val="tx1"/>
                </a:solidFill>
                <a:effectLst/>
                <a:latin typeface="Segoe UI" panose="020B0502040204020203" pitchFamily="34" charset="0"/>
                <a:ea typeface="+mn-ea"/>
                <a:cs typeface="+mn-cs"/>
              </a:rPr>
              <a:t> you </a:t>
            </a:r>
            <a:r>
              <a:rPr lang="en-US" sz="1200" kern="1200" dirty="0">
                <a:solidFill>
                  <a:schemeClr val="tx1"/>
                </a:solidFill>
                <a:effectLst/>
                <a:latin typeface="Segoe UI" panose="020B0502040204020203" pitchFamily="34" charset="0"/>
                <a:ea typeface="+mn-ea"/>
                <a:cs typeface="+mn-cs"/>
              </a:rPr>
              <a:t>explore large, unstructured sets of data and quickly find what is relevant.</a:t>
            </a:r>
          </a:p>
          <a:p>
            <a:pPr marL="171450" indent="-171450">
              <a:buFont typeface="Arial" panose="020B0604020202020204" pitchFamily="34" charset="0"/>
              <a:buChar char="•"/>
              <a:defRPr/>
            </a:pPr>
            <a:r>
              <a:rPr lang="en-US" b="1" dirty="0">
                <a:solidFill>
                  <a:schemeClr val="tx2"/>
                </a:solidFill>
                <a:latin typeface="Segoe UI" panose="020B0502040204020203" pitchFamily="34" charset="0"/>
              </a:rPr>
              <a:t>Thread Analysis </a:t>
            </a:r>
            <a:r>
              <a:rPr lang="en-US" sz="1200" kern="1200" dirty="0">
                <a:solidFill>
                  <a:schemeClr val="tx1"/>
                </a:solidFill>
                <a:effectLst/>
                <a:latin typeface="Segoe UI" panose="020B0502040204020203" pitchFamily="34" charset="0"/>
                <a:ea typeface="+mn-ea"/>
                <a:cs typeface="+mn-cs"/>
              </a:rPr>
              <a:t>reconstructs email threads from unstructured data.</a:t>
            </a:r>
            <a:endParaRPr lang="en-US" dirty="0">
              <a:solidFill>
                <a:schemeClr val="tx2"/>
              </a:solidFill>
              <a:latin typeface="Segoe UI" panose="020B0502040204020203" pitchFamily="34" charset="0"/>
            </a:endParaRPr>
          </a:p>
          <a:p>
            <a:pPr marL="171450" indent="-171450">
              <a:buFont typeface="Arial" panose="020B0604020202020204" pitchFamily="34" charset="0"/>
              <a:buChar char="•"/>
              <a:defRPr/>
            </a:pPr>
            <a:r>
              <a:rPr lang="en-US" b="1" dirty="0">
                <a:solidFill>
                  <a:schemeClr val="tx2"/>
                </a:solidFill>
                <a:latin typeface="Segoe UI" panose="020B0502040204020203" pitchFamily="34" charset="0"/>
              </a:rPr>
              <a:t>Duplicate Detection</a:t>
            </a:r>
            <a:r>
              <a:rPr lang="en-US" b="1" baseline="0" dirty="0">
                <a:solidFill>
                  <a:schemeClr val="tx2"/>
                </a:solidFill>
                <a:latin typeface="Segoe UI" panose="020B0502040204020203" pitchFamily="34" charset="0"/>
              </a:rPr>
              <a:t> </a:t>
            </a:r>
            <a:r>
              <a:rPr lang="en-US" sz="1200" kern="1200" dirty="0">
                <a:solidFill>
                  <a:schemeClr val="tx1"/>
                </a:solidFill>
                <a:effectLst/>
                <a:latin typeface="Segoe UI" panose="020B0502040204020203" pitchFamily="34" charset="0"/>
                <a:ea typeface="+mn-ea"/>
                <a:cs typeface="+mn-cs"/>
              </a:rPr>
              <a:t>reduces document volume so you can focus on what is unique.</a:t>
            </a:r>
            <a:endParaRPr lang="en-US" dirty="0">
              <a:solidFill>
                <a:schemeClr val="tx2"/>
              </a:solidFill>
              <a:latin typeface="Segoe UI" panose="020B0502040204020203" pitchFamily="34" charset="0"/>
            </a:endParaRPr>
          </a:p>
          <a:p>
            <a:pPr marL="171450" indent="-171450">
              <a:buFont typeface="Arial" panose="020B0604020202020204" pitchFamily="34" charset="0"/>
              <a:buChar char="•"/>
              <a:defRPr/>
            </a:pPr>
            <a:r>
              <a:rPr lang="en-US" b="1" dirty="0">
                <a:solidFill>
                  <a:schemeClr val="tx2"/>
                </a:solidFill>
                <a:latin typeface="Segoe UI" panose="020B0502040204020203" pitchFamily="34" charset="0"/>
              </a:rPr>
              <a:t>Predictive coding </a:t>
            </a:r>
            <a:r>
              <a:rPr lang="en-US" dirty="0">
                <a:solidFill>
                  <a:schemeClr val="tx2"/>
                </a:solidFill>
                <a:latin typeface="Segoe UI" panose="020B0502040204020203" pitchFamily="34" charset="0"/>
              </a:rPr>
              <a:t>trains the system to identify relevant email and document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solidFill>
                  <a:schemeClr val="tx2"/>
                </a:solidFill>
                <a:latin typeface="Segoe UI" panose="020B0502040204020203" pitchFamily="34" charset="0"/>
              </a:rPr>
              <a:t>Themes and Search </a:t>
            </a:r>
            <a:r>
              <a:rPr lang="en-US" dirty="0">
                <a:solidFill>
                  <a:schemeClr val="tx2"/>
                </a:solidFill>
                <a:latin typeface="Segoe UI" panose="020B0502040204020203" pitchFamily="34" charset="0"/>
              </a:rPr>
              <a:t>help you quickly map unstructured data</a:t>
            </a:r>
            <a:r>
              <a:rPr lang="en-US" baseline="0" dirty="0">
                <a:solidFill>
                  <a:schemeClr val="tx2"/>
                </a:solidFill>
                <a:latin typeface="Segoe UI" panose="020B0502040204020203" pitchFamily="34" charset="0"/>
              </a:rPr>
              <a:t> </a:t>
            </a:r>
            <a:r>
              <a:rPr lang="en-US" dirty="0">
                <a:solidFill>
                  <a:schemeClr val="tx2"/>
                </a:solidFill>
                <a:latin typeface="Segoe UI" panose="020B0502040204020203" pitchFamily="34" charset="0"/>
              </a:rPr>
              <a:t>by using </a:t>
            </a:r>
            <a:r>
              <a:rPr lang="en-US" sz="1200" kern="1200" dirty="0">
                <a:solidFill>
                  <a:schemeClr val="tx1"/>
                </a:solidFill>
                <a:effectLst/>
                <a:latin typeface="Segoe UI" panose="020B0502040204020203" pitchFamily="34" charset="0"/>
                <a:ea typeface="+mn-ea"/>
                <a:cs typeface="+mn-cs"/>
              </a:rPr>
              <a:t>clustering technology to identify data relationships and </a:t>
            </a:r>
            <a:r>
              <a:rPr lang="en-US" dirty="0">
                <a:solidFill>
                  <a:schemeClr val="tx2"/>
                </a:solidFill>
                <a:latin typeface="Segoe UI" panose="020B0502040204020203" pitchFamily="34" charset="0"/>
              </a:rPr>
              <a:t>simplify email reviews. </a:t>
            </a:r>
          </a:p>
          <a:p>
            <a:pPr>
              <a:buFont typeface="Arial" panose="020B0604020202020204" pitchFamily="34" charset="0"/>
              <a:buNone/>
              <a:defRPr/>
            </a:pPr>
            <a:endParaRPr lang="en-US" dirty="0">
              <a:solidFill>
                <a:schemeClr val="tx2"/>
              </a:solidFill>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It’s easy to see why this is the most secure Office ever. </a:t>
            </a:r>
          </a:p>
          <a:p>
            <a:pPr>
              <a:buFont typeface="Arial" panose="020B0604020202020204" pitchFamily="34" charset="0"/>
              <a:buNone/>
              <a:defRPr/>
            </a:pPr>
            <a:endParaRPr lang="en-US" dirty="0">
              <a:solidFill>
                <a:schemeClr val="tx2"/>
              </a:solidFill>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C40763C-4443-44E1-B24C-F2584CC42312}"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Tree>
    <p:extLst>
      <p:ext uri="{BB962C8B-B14F-4D97-AF65-F5344CB8AC3E}">
        <p14:creationId xmlns:p14="http://schemas.microsoft.com/office/powerpoint/2010/main" val="266608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Knowing your business is protected from outside threats gives you the opportunity to focus on what’s going on inside your</a:t>
            </a:r>
            <a:r>
              <a:rPr lang="en-US" sz="1200" kern="1200" baseline="0" dirty="0">
                <a:solidFill>
                  <a:schemeClr val="tx1"/>
                </a:solidFill>
                <a:effectLst/>
                <a:latin typeface="+mn-lt"/>
                <a:ea typeface="+mn-ea"/>
                <a:cs typeface="+mn-cs"/>
              </a:rPr>
              <a:t> organization. Microsoft is a leader in business intelligence as its capabilities build upon the world’s most frequently used analysis tool – Excel. Office 365 offers Insights for Everyone and enables you to make more-informed, and better decis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Easy-to-use live data monitoring and in-depth analysis tools in Office 365 let you use your data and</a:t>
            </a:r>
            <a:r>
              <a:rPr lang="en-US" sz="1200" kern="1200" baseline="0" dirty="0">
                <a:solidFill>
                  <a:schemeClr val="tx1"/>
                </a:solidFill>
                <a:effectLst/>
                <a:latin typeface="+mn-lt"/>
                <a:ea typeface="+mn-ea"/>
                <a:cs typeface="+mn-cs"/>
              </a:rPr>
              <a:t> unlock stories </a:t>
            </a:r>
            <a:r>
              <a:rPr lang="en-US" sz="1200" kern="1200" dirty="0">
                <a:solidFill>
                  <a:schemeClr val="tx1"/>
                </a:solidFill>
                <a:effectLst/>
                <a:latin typeface="+mn-lt"/>
                <a:ea typeface="+mn-ea"/>
                <a:cs typeface="+mn-cs"/>
              </a:rPr>
              <a:t>through simple dashboards, interactive reports, and compelling visualizations. (Power B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And if improving personal and team effectiveness is what you are looking for, Office 365 provides real-time work analytics at the individual level (and soon at</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 the </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organization level) to optimize activities for the best business outcomes. (Delve</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 Analytics)</a:t>
            </a:r>
            <a:endParaRPr lang="en-US" sz="120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Focus</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 on what matters to you so you can make the best business decision possible. </a:t>
            </a:r>
            <a:endParaRPr lang="en-US" sz="120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Leader in Gartner’s Magic Quadrant for Business Intelligence and Analytics Platforms, February 2016, for the ninth consecutive year and placed furthest in vis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800" kern="0">
                <a:solidFill>
                  <a:schemeClr val="accent1"/>
                </a:solidFill>
              </a:rPr>
              <a:t>Leader </a:t>
            </a:r>
            <a:r>
              <a:rPr lang="en-US" sz="1200" kern="0">
                <a:solidFill>
                  <a:schemeClr val="bg1"/>
                </a:solidFill>
              </a:rPr>
              <a:t>In Forrester’s Agile Business Intelligence Platforms (</a:t>
            </a:r>
            <a:r>
              <a:rPr lang="en-US" sz="1200">
                <a:solidFill>
                  <a:schemeClr val="bg1"/>
                </a:solidFill>
              </a:rPr>
              <a:t>Forrester Wave: Agile Business Intelligence Platforms, Q3, 2015)</a:t>
            </a:r>
            <a:endParaRPr lang="en-US" sz="1100" i="1">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Segoe UI" panose="020B0502040204020203" pitchFamily="34" charset="0"/>
              <a:ea typeface="+mn-ea"/>
              <a:cs typeface="+mn-cs"/>
              <a:sym typeface="Segoe UI" panose="020B0502040204020203" pitchFamily="34" charset="0"/>
            </a:endParaRPr>
          </a:p>
          <a:p>
            <a:endParaRPr lang="en-US" dirty="0"/>
          </a:p>
          <a:p>
            <a:r>
              <a:rPr lang="en-US" dirty="0"/>
              <a:t>Henkel case study and video</a:t>
            </a:r>
          </a:p>
          <a:p>
            <a:r>
              <a:rPr lang="en-US" dirty="0"/>
              <a:t>https://customers.microsoft.com/Pages/CustomerStory.aspx?recid=17982</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pPr marL="0" marR="0" indent="0" algn="l" defTabSz="914228" rtl="0" eaLnBrk="1" fontAlgn="auto" latinLnBrk="0" hangingPunct="1">
              <a:lnSpc>
                <a:spcPct val="100000"/>
              </a:lnSpc>
              <a:spcBef>
                <a:spcPts val="0"/>
              </a:spcBef>
              <a:spcAft>
                <a:spcPts val="0"/>
              </a:spcAft>
              <a:buClrTx/>
              <a:buSzTx/>
              <a:buFontTx/>
              <a:buNone/>
              <a:tabLst/>
              <a:defRPr/>
            </a:pPr>
            <a:endParaRPr lang="en-US" sz="900" baseline="0" dirty="0">
              <a:solidFill>
                <a:schemeClr val="tx1"/>
              </a:solidFill>
              <a:latin typeface="+mn-lt"/>
            </a:endParaRPr>
          </a:p>
          <a:p>
            <a:endParaRPr lang="en-US" dirty="0"/>
          </a:p>
        </p:txBody>
      </p:sp>
      <p:sp>
        <p:nvSpPr>
          <p:cNvPr id="4" name="Slide Number Placeholder 3"/>
          <p:cNvSpPr>
            <a:spLocks noGrp="1"/>
          </p:cNvSpPr>
          <p:nvPr>
            <p:ph type="sldNum" sz="quarter" idx="10"/>
          </p:nvPr>
        </p:nvSpPr>
        <p:spPr/>
        <p:txBody>
          <a:bodyPr/>
          <a:lstStyle/>
          <a:p>
            <a:fld id="{EDAAE6D1-3843-499C-919B-894A1B00278F}" type="slidenum">
              <a:rPr lang="en-US" smtClean="0"/>
              <a:t>6</a:t>
            </a:fld>
            <a:endParaRPr lang="en-US" dirty="0"/>
          </a:p>
        </p:txBody>
      </p:sp>
    </p:spTree>
    <p:extLst>
      <p:ext uri="{BB962C8B-B14F-4D97-AF65-F5344CB8AC3E}">
        <p14:creationId xmlns:p14="http://schemas.microsoft.com/office/powerpoint/2010/main" val="2675613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Segoe UI" panose="020B0502040204020203" pitchFamily="34" charset="0"/>
                <a:ea typeface="+mn-ea"/>
                <a:cs typeface="+mn-cs"/>
                <a:sym typeface="Segoe UI" panose="020B0502040204020203" pitchFamily="34" charset="0"/>
              </a:rPr>
              <a:t>Take a closer look at Analytics capabilities in E5</a:t>
            </a:r>
          </a:p>
          <a:p>
            <a:r>
              <a:rPr lang="en-US" sz="1200" b="1" kern="1200" dirty="0">
                <a:solidFill>
                  <a:schemeClr val="tx1"/>
                </a:solidFill>
                <a:effectLst/>
                <a:latin typeface="Segoe UI" panose="020B0502040204020203" pitchFamily="34" charset="0"/>
                <a:ea typeface="+mn-ea"/>
                <a:cs typeface="+mn-cs"/>
                <a:sym typeface="Segoe UI" panose="020B0502040204020203" pitchFamily="34" charset="0"/>
              </a:rPr>
              <a:t>Power BI </a:t>
            </a:r>
            <a:r>
              <a:rPr lang="en-US" sz="1200" b="0" kern="1200" dirty="0">
                <a:solidFill>
                  <a:schemeClr val="tx1"/>
                </a:solidFill>
                <a:effectLst/>
                <a:latin typeface="Segoe UI" panose="020B0502040204020203" pitchFamily="34" charset="0"/>
                <a:ea typeface="+mn-ea"/>
                <a:cs typeface="+mn-cs"/>
                <a:sym typeface="Segoe UI" panose="020B0502040204020203" pitchFamily="34" charset="0"/>
              </a:rPr>
              <a:t>transforms your company’s data into rich visuals and analytics, so you can focus on what matters to you. Stay in the know, spot trends as they happen, and push your business further. With Power BI, you can:</a:t>
            </a:r>
          </a:p>
          <a:p>
            <a:pPr marL="171450" lvl="0" indent="-171450">
              <a:buFont typeface="Arial" panose="020B0604020202020204" pitchFamily="34" charset="0"/>
              <a:buChar char="•"/>
            </a:pP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Get an end-to-end view off what is happening</a:t>
            </a:r>
          </a:p>
          <a:p>
            <a:pPr marL="171450" lvl="0" indent="-171450">
              <a:buFont typeface="Arial" panose="020B0604020202020204" pitchFamily="34" charset="0"/>
              <a:buChar char="•"/>
            </a:pP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Manage multiple data sources</a:t>
            </a:r>
          </a:p>
          <a:p>
            <a:pPr marL="171450" lvl="0" indent="-171450">
              <a:buFont typeface="Arial" panose="020B0604020202020204" pitchFamily="34" charset="0"/>
              <a:buChar char="•"/>
            </a:pP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Make the right data available to the right users at the right time</a:t>
            </a:r>
          </a:p>
          <a:p>
            <a:r>
              <a:rPr lang="en-US" sz="1200" kern="1200" dirty="0">
                <a:solidFill>
                  <a:schemeClr val="tx1"/>
                </a:solidFill>
                <a:effectLst/>
                <a:latin typeface="Segoe UI" panose="020B0502040204020203" pitchFamily="34" charset="0"/>
                <a:ea typeface="+mn-ea"/>
                <a:cs typeface="+mn-cs"/>
                <a:sym typeface="Segoe UI" panose="020B0502040204020203" pitchFamily="34" charset="0"/>
              </a:rPr>
              <a:t>In</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 addition, w</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ith out-of-the-box Power BI content packs for popular services such as Salesforce, QuickBooks Online, Marketo, you can create data visualizations in just minutes. You can also publish data from Excel 2016 to Power BI, making it even easier to share data and insights. </a:t>
            </a:r>
          </a:p>
          <a:p>
            <a:endParaRPr lang="en-US" sz="120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200" b="1" kern="1200" dirty="0">
                <a:solidFill>
                  <a:schemeClr val="tx1"/>
                </a:solidFill>
                <a:effectLst/>
                <a:latin typeface="Segoe UI" panose="020B0502040204020203" pitchFamily="34" charset="0"/>
                <a:ea typeface="+mn-ea"/>
                <a:cs typeface="+mn-cs"/>
                <a:sym typeface="Segoe UI" panose="020B0502040204020203" pitchFamily="34" charset="0"/>
              </a:rPr>
              <a:t>Delve Analytics </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helps you understand time management, business efficiency, and organizational collaboration patterns by using big data and behavioral analytics to reveal how activities drive business outcomes. Everyone from individual employees to team leaders and managers can use Delve Analytics to monitor patterns and find ways to get time back and spend it more effective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sym typeface="Segoe UI" panose="020B0502040204020203" pitchFamily="34" charset="0"/>
              </a:rPr>
              <a:t>Delve Analytics Personal Dashboard </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helps you discover trends for the most important aspects of your day like meetings, email, focus time, and after hours. Use this information to assess how to most effectively rebalance your schedul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sym typeface="Segoe UI" panose="020B0502040204020203" pitchFamily="34" charset="0"/>
              </a:rPr>
              <a:t>Outlook</a:t>
            </a:r>
            <a:r>
              <a:rPr lang="en-US" sz="1200" b="1" kern="1200" baseline="0" dirty="0">
                <a:solidFill>
                  <a:schemeClr val="tx1"/>
                </a:solidFill>
                <a:effectLst/>
                <a:latin typeface="Segoe UI" panose="020B0502040204020203" pitchFamily="34" charset="0"/>
                <a:ea typeface="+mn-ea"/>
                <a:cs typeface="+mn-cs"/>
                <a:sym typeface="Segoe UI" panose="020B0502040204020203" pitchFamily="34" charset="0"/>
              </a:rPr>
              <a:t> add-in </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offers </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quick feedback about when emails are opened by your colleagues and how many recipients actually read the email</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 you send</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 Use this information to understand the best time of day to send email and alter content to ensure high read rates.</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 </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You can also </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u</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se the email-read analytics to explore read rates, activity trends, and other characteristics of emails that were sent to you.</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Segoe UI" panose="020B0502040204020203" pitchFamily="34" charset="0"/>
                <a:ea typeface="+mn-ea"/>
                <a:cs typeface="+mn-cs"/>
                <a:sym typeface="Segoe UI" panose="020B0502040204020203" pitchFamily="34" charset="0"/>
              </a:rPr>
              <a:t>Email Digest </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delivers weekly summaries of activity and collaboration characteristics that provide you with simple feedback about time allocation and networking. </a:t>
            </a:r>
          </a:p>
        </p:txBody>
      </p:sp>
      <p:sp>
        <p:nvSpPr>
          <p:cNvPr id="4" name="Slide Number Placeholder 3"/>
          <p:cNvSpPr>
            <a:spLocks noGrp="1"/>
          </p:cNvSpPr>
          <p:nvPr>
            <p:ph type="sldNum" sz="quarter" idx="10"/>
          </p:nvPr>
        </p:nvSpPr>
        <p:spPr/>
        <p:txBody>
          <a:bodyPr/>
          <a:lstStyle/>
          <a:p>
            <a:fld id="{7C40763C-4443-44E1-B24C-F2584CC42312}" type="slidenum">
              <a:rPr lang="en-US" smtClean="0">
                <a:latin typeface="Segoe UI" panose="020B0502040204020203" pitchFamily="34" charset="0"/>
              </a:rPr>
              <a:t>7</a:t>
            </a:fld>
            <a:endParaRPr lang="en-US" dirty="0">
              <a:latin typeface="Segoe UI" panose="020B0502040204020203" pitchFamily="34" charset="0"/>
            </a:endParaRPr>
          </a:p>
        </p:txBody>
      </p:sp>
    </p:spTree>
    <p:extLst>
      <p:ext uri="{BB962C8B-B14F-4D97-AF65-F5344CB8AC3E}">
        <p14:creationId xmlns:p14="http://schemas.microsoft.com/office/powerpoint/2010/main" val="32754515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t the heart of great teams is great collaboration and communication. </a:t>
            </a: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That is the core belief that guides our communication investments in Office 365. </a:t>
            </a:r>
            <a:r>
              <a:rPr lang="en-US" sz="1200" kern="1200" dirty="0">
                <a:solidFill>
                  <a:schemeClr val="tx1"/>
                </a:solidFill>
                <a:effectLst/>
                <a:latin typeface="+mn-lt"/>
                <a:ea typeface="+mn-ea"/>
                <a:cs typeface="+mn-cs"/>
              </a:rPr>
              <a:t>Teams that communicate often and openly are more efficient, respond faster, plan better and help one another more effectively. They listen to customers and market trends. They share insights with each other. They challenge one another openly. They are great communicators, and that makes them a great team. </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Segoe UI" panose="020B0502040204020203" pitchFamily="34" charset="0"/>
                <a:ea typeface="+mn-ea"/>
                <a:cs typeface="+mn-cs"/>
                <a:sym typeface="Segoe UI" panose="020B0502040204020203" pitchFamily="34" charset="0"/>
              </a:rPr>
              <a:t>E5</a:t>
            </a: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 investments in Voice support complete cloud communic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Segoe UI" panose="020B0502040204020203" pitchFamily="34" charset="0"/>
              <a:ea typeface="+mn-ea"/>
              <a:cs typeface="+mn-cs"/>
              <a:sym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Segoe UI" panose="020B0502040204020203" pitchFamily="34" charset="0"/>
                <a:ea typeface="+mn-ea"/>
                <a:cs typeface="+mn-cs"/>
                <a:sym typeface="Segoe UI" panose="020B0502040204020203" pitchFamily="34" charset="0"/>
              </a:rPr>
              <a:t>-Microsoft is unique in proving one platform for meetings and voice. </a:t>
            </a:r>
            <a:r>
              <a:rPr lang="en-US" sz="1200" kern="1200" dirty="0">
                <a:solidFill>
                  <a:schemeClr val="tx1"/>
                </a:solidFill>
                <a:effectLst/>
                <a:latin typeface="+mn-lt"/>
                <a:ea typeface="+mn-ea"/>
                <a:cs typeface="+mn-cs"/>
              </a:rPr>
              <a:t>Having one platform for meeting and voice gives</a:t>
            </a:r>
            <a:r>
              <a:rPr lang="en-US" sz="1200" kern="1200" baseline="0" dirty="0">
                <a:solidFill>
                  <a:schemeClr val="tx1"/>
                </a:solidFill>
                <a:effectLst/>
                <a:latin typeface="+mn-lt"/>
                <a:ea typeface="+mn-ea"/>
                <a:cs typeface="+mn-cs"/>
              </a:rPr>
              <a:t> your teams the ability to communicate easily, using the right tools, from the right devices, and at the right tim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that drives significant cost savings. Your employees save time from switching from one system for IM to another one for web conferences, and then to another one for video. With Office 365, everything is integrated into one platform. Your administrators save time because they don’t have to manage multiple products. And your business could potentially save millions by eliminating</a:t>
            </a:r>
            <a:r>
              <a:rPr lang="en-US" sz="1200" kern="1200" baseline="0" dirty="0">
                <a:solidFill>
                  <a:schemeClr val="tx1"/>
                </a:solidFill>
                <a:effectLst/>
                <a:latin typeface="+mn-lt"/>
                <a:ea typeface="+mn-ea"/>
                <a:cs typeface="+mn-cs"/>
              </a:rPr>
              <a:t> things</a:t>
            </a:r>
            <a:r>
              <a:rPr lang="en-US" sz="1200" kern="1200" dirty="0">
                <a:solidFill>
                  <a:schemeClr val="tx1"/>
                </a:solidFill>
                <a:effectLst/>
                <a:latin typeface="+mn-lt"/>
                <a:ea typeface="+mn-ea"/>
                <a:cs typeface="+mn-cs"/>
              </a:rPr>
              <a:t> like WebEx licenses, ACP per-minute charges, and PBX maintenance cos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se capabilities support mobile work and the ability to stay productive from anywhere.</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potential cost savings from these capabilities can be significant for most organizations. Ixia is just one example of a customer saving $100,000 from the use of Skype for Business Online.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Analyst support: Leader in Gartner’s Magic Quadrants for Unified Communications, Corporate Telephony, and Web Conferencing. </a:t>
            </a:r>
          </a:p>
          <a:p>
            <a:endParaRPr lang="en-US" dirty="0"/>
          </a:p>
          <a:p>
            <a:r>
              <a:rPr lang="en-US" dirty="0"/>
              <a:t>Source for over 100 million meetings conducted each month using Skype services</a:t>
            </a:r>
          </a:p>
          <a:p>
            <a:r>
              <a:rPr lang="en-US" dirty="0"/>
              <a:t>Microsoft, “Expanding the reach of Skype for Business meetings and voice services in Office 365”, 2016</a:t>
            </a:r>
          </a:p>
          <a:p>
            <a:r>
              <a:rPr lang="en-US" dirty="0"/>
              <a:t>https://blogs.office.com/2016/03/09/expanding-the-reach-of-skype-for-business-meetings-and-voice-services-in-office-365/</a:t>
            </a:r>
          </a:p>
          <a:p>
            <a:endParaRPr lang="en-US" dirty="0"/>
          </a:p>
          <a:p>
            <a:r>
              <a:rPr lang="en-US" dirty="0"/>
              <a:t>Quote from Ixia case study</a:t>
            </a:r>
          </a:p>
          <a:p>
            <a:r>
              <a:rPr lang="en-US" dirty="0"/>
              <a:t>https://customers.microsoft.com/Pages/CustomerStory.aspx?recid=26528</a:t>
            </a:r>
          </a:p>
          <a:p>
            <a:pPr defTabSz="932742" fontAlgn="ctr">
              <a:lnSpc>
                <a:spcPct val="90000"/>
              </a:lnSpc>
              <a:spcAft>
                <a:spcPts val="340"/>
              </a:spcAft>
              <a:defRPr/>
            </a:pPr>
            <a:endParaRPr lang="en-US" sz="900" dirty="0"/>
          </a:p>
        </p:txBody>
      </p:sp>
      <p:sp>
        <p:nvSpPr>
          <p:cNvPr id="4" name="Slide Number Placeholder 3"/>
          <p:cNvSpPr>
            <a:spLocks noGrp="1"/>
          </p:cNvSpPr>
          <p:nvPr>
            <p:ph type="sldNum" sz="quarter" idx="10"/>
          </p:nvPr>
        </p:nvSpPr>
        <p:spPr/>
        <p:txBody>
          <a:bodyPr/>
          <a:lstStyle/>
          <a:p>
            <a:fld id="{4B03FD98-CD5B-4ADD-8DA6-FE36A8C66EA7}" type="slidenum">
              <a:rPr lang="en-US" smtClean="0">
                <a:solidFill>
                  <a:srgbClr val="505050"/>
                </a:solidFill>
              </a:rPr>
              <a:pPr/>
              <a:t>8</a:t>
            </a:fld>
            <a:endParaRPr lang="en-US" dirty="0">
              <a:solidFill>
                <a:srgbClr val="505050"/>
              </a:solidFill>
            </a:endParaRPr>
          </a:p>
        </p:txBody>
      </p:sp>
    </p:spTree>
    <p:extLst>
      <p:ext uri="{BB962C8B-B14F-4D97-AF65-F5344CB8AC3E}">
        <p14:creationId xmlns:p14="http://schemas.microsoft.com/office/powerpoint/2010/main" val="3339940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50464" rtl="0" eaLnBrk="1" fontAlgn="auto" latinLnBrk="0" hangingPunct="1">
              <a:lnSpc>
                <a:spcPct val="90000"/>
              </a:lnSpc>
              <a:spcBef>
                <a:spcPts val="0"/>
              </a:spcBef>
              <a:spcAft>
                <a:spcPts val="346"/>
              </a:spcAft>
              <a:buClrTx/>
              <a:buSzTx/>
              <a:buFontTx/>
              <a:buNone/>
              <a:tabLst/>
              <a:defRPr/>
            </a:pPr>
            <a:r>
              <a:rPr lang="en-US" dirty="0">
                <a:latin typeface="Segoe UI" panose="020B0502040204020203" pitchFamily="34" charset="0"/>
              </a:rPr>
              <a:t>Skype for Business and Office 365</a:t>
            </a:r>
            <a:r>
              <a:rPr lang="en-US" baseline="0" dirty="0">
                <a:latin typeface="Segoe UI" panose="020B0502040204020203" pitchFamily="34" charset="0"/>
              </a:rPr>
              <a:t> offer you all the capabilities you need for modern voice and meetings. A</a:t>
            </a:r>
            <a:r>
              <a:rPr lang="en-US" dirty="0">
                <a:latin typeface="Segoe UI" panose="020B0502040204020203" pitchFamily="34" charset="0"/>
              </a:rPr>
              <a:t>udio, video, and web meetings are combined in one connected user experience and platform,</a:t>
            </a:r>
            <a:r>
              <a:rPr lang="en-US" baseline="0" dirty="0">
                <a:latin typeface="Segoe UI" panose="020B0502040204020203" pitchFamily="34" charset="0"/>
              </a:rPr>
              <a:t> with high definition video and a broad range of devices from Microsoft and partners. </a:t>
            </a:r>
            <a:r>
              <a:rPr lang="en-US" dirty="0">
                <a:latin typeface="Segoe UI" panose="020B0502040204020203" pitchFamily="34" charset="0"/>
              </a:rPr>
              <a:t>This helps</a:t>
            </a:r>
            <a:r>
              <a:rPr lang="en-US" baseline="0" dirty="0">
                <a:latin typeface="Segoe UI" panose="020B0502040204020203" pitchFamily="34" charset="0"/>
              </a:rPr>
              <a:t> your business </a:t>
            </a:r>
            <a:r>
              <a:rPr lang="en-US" dirty="0">
                <a:latin typeface="Segoe UI" panose="020B0502040204020203" pitchFamily="34" charset="0"/>
              </a:rPr>
              <a:t>consolidate conferencing solutions and simplify operations while reducing complexity for users, reducing support costs for IT, and enabling employees to work from virtually anywhere.</a:t>
            </a:r>
          </a:p>
          <a:p>
            <a:pPr defTabSz="950464">
              <a:lnSpc>
                <a:spcPct val="90000"/>
              </a:lnSpc>
              <a:spcAft>
                <a:spcPts val="346"/>
              </a:spcAft>
              <a:defRPr/>
            </a:pPr>
            <a:endParaRPr lang="en-US" dirty="0">
              <a:latin typeface="Segoe UI" panose="020B0502040204020203" pitchFamily="34" charset="0"/>
            </a:endParaRPr>
          </a:p>
          <a:p>
            <a:pPr marL="171450" indent="-171450" defTabSz="950464">
              <a:lnSpc>
                <a:spcPct val="90000"/>
              </a:lnSpc>
              <a:spcAft>
                <a:spcPts val="346"/>
              </a:spcAft>
              <a:buFont typeface="Arial" panose="020B0604020202020204" pitchFamily="34" charset="0"/>
              <a:buChar char="•"/>
              <a:defRPr/>
            </a:pPr>
            <a:r>
              <a:rPr lang="en-US" dirty="0">
                <a:latin typeface="Segoe UI" panose="020B0502040204020203" pitchFamily="34" charset="0"/>
              </a:rPr>
              <a:t>With</a:t>
            </a:r>
            <a:r>
              <a:rPr lang="en-US" baseline="0" dirty="0">
                <a:latin typeface="Segoe UI" panose="020B0502040204020203" pitchFamily="34" charset="0"/>
              </a:rPr>
              <a:t> </a:t>
            </a:r>
            <a:r>
              <a:rPr lang="en-US" b="1" dirty="0">
                <a:latin typeface="Segoe UI" panose="020B0502040204020203" pitchFamily="34" charset="0"/>
              </a:rPr>
              <a:t>PSTN Conferencing</a:t>
            </a:r>
            <a:r>
              <a:rPr lang="en-US" dirty="0">
                <a:latin typeface="Segoe UI" panose="020B0502040204020203" pitchFamily="34" charset="0"/>
              </a:rPr>
              <a:t>, meeting attendees without Internet or audio access on their PCs can dial in to Skype meetings from virtually any device. Meeting organizers can also dial out to attendees and bring them into the meeting. </a:t>
            </a:r>
            <a:r>
              <a:rPr lang="en-US" sz="1200" baseline="0" dirty="0">
                <a:solidFill>
                  <a:schemeClr val="tx1"/>
                </a:solidFill>
                <a:latin typeface="Calibri" panose="020F0502020204030204" pitchFamily="34" charset="0"/>
              </a:rPr>
              <a:t>PSTN Conferencing also offers unlimited conferencing as a part of the service, so no charges are incurred for callers using a tolled number to dial-in. </a:t>
            </a:r>
          </a:p>
          <a:p>
            <a:pPr marL="171450" indent="-171450" defTabSz="950464">
              <a:lnSpc>
                <a:spcPct val="90000"/>
              </a:lnSpc>
              <a:spcAft>
                <a:spcPts val="346"/>
              </a:spcAft>
              <a:buFont typeface="Arial" panose="020B0604020202020204" pitchFamily="34" charset="0"/>
              <a:buChar char="•"/>
              <a:defRPr/>
            </a:pPr>
            <a:r>
              <a:rPr lang="en-US" sz="1200" b="1" kern="1200" dirty="0">
                <a:solidFill>
                  <a:schemeClr val="tx1"/>
                </a:solidFill>
                <a:effectLst/>
                <a:latin typeface="Calibri" panose="020F0502020204030204" pitchFamily="34" charset="0"/>
                <a:ea typeface="+mn-ea"/>
                <a:cs typeface="+mn-cs"/>
              </a:rPr>
              <a:t>Cloud PBX </a:t>
            </a:r>
            <a:r>
              <a:rPr lang="en-US" sz="1200" kern="1200" dirty="0">
                <a:solidFill>
                  <a:schemeClr val="tx1"/>
                </a:solidFill>
                <a:effectLst/>
                <a:latin typeface="Calibri" panose="020F0502020204030204" pitchFamily="34" charset="0"/>
                <a:ea typeface="+mn-ea"/>
                <a:cs typeface="+mn-cs"/>
              </a:rPr>
              <a:t>(when combined with PSTN Calling)</a:t>
            </a:r>
            <a:r>
              <a:rPr lang="en-US" sz="1200" kern="1200" baseline="0" dirty="0">
                <a:solidFill>
                  <a:schemeClr val="tx1"/>
                </a:solidFill>
                <a:effectLst/>
                <a:latin typeface="Calibri" panose="020F0502020204030204" pitchFamily="34" charset="0"/>
                <a:ea typeface="+mn-ea"/>
                <a:cs typeface="+mn-cs"/>
              </a:rPr>
              <a:t> </a:t>
            </a:r>
            <a:r>
              <a:rPr lang="en-US" sz="1200" kern="1200" dirty="0">
                <a:solidFill>
                  <a:schemeClr val="tx1"/>
                </a:solidFill>
                <a:effectLst/>
                <a:latin typeface="Calibri" panose="020F0502020204030204" pitchFamily="34" charset="0"/>
                <a:ea typeface="+mn-ea"/>
                <a:cs typeface="+mn-cs"/>
              </a:rPr>
              <a:t>is your phone system in the cloud, modern, and tightly integrated with Office 365. </a:t>
            </a:r>
            <a:r>
              <a:rPr lang="en-US" sz="1200" b="0" kern="1200" dirty="0">
                <a:solidFill>
                  <a:schemeClr val="tx1"/>
                </a:solidFill>
                <a:effectLst/>
                <a:latin typeface="Calibri" panose="020F0502020204030204" pitchFamily="34" charset="0"/>
                <a:ea typeface="+mn-ea"/>
                <a:cs typeface="+mn-cs"/>
              </a:rPr>
              <a:t>Users</a:t>
            </a:r>
            <a:r>
              <a:rPr lang="en-US" sz="1200" b="0" kern="1200" baseline="0" dirty="0">
                <a:solidFill>
                  <a:schemeClr val="tx1"/>
                </a:solidFill>
                <a:effectLst/>
                <a:latin typeface="Calibri" panose="020F0502020204030204" pitchFamily="34" charset="0"/>
                <a:ea typeface="+mn-ea"/>
                <a:cs typeface="+mn-cs"/>
              </a:rPr>
              <a:t> get the voice capabilities they need—m</a:t>
            </a:r>
            <a:r>
              <a:rPr lang="en-US" sz="1200" kern="1200" dirty="0">
                <a:solidFill>
                  <a:schemeClr val="tx1"/>
                </a:solidFill>
                <a:effectLst/>
                <a:latin typeface="Calibri" panose="020F0502020204030204" pitchFamily="34" charset="0"/>
                <a:ea typeface="+mn-ea"/>
                <a:cs typeface="+mn-cs"/>
              </a:rPr>
              <a:t>ake, receive, and manage calls</a:t>
            </a:r>
            <a:r>
              <a:rPr lang="en-US" sz="1200" kern="1200" baseline="0" dirty="0">
                <a:solidFill>
                  <a:schemeClr val="tx1"/>
                </a:solidFill>
                <a:effectLst/>
                <a:latin typeface="Calibri" panose="020F0502020204030204" pitchFamily="34" charset="0"/>
                <a:ea typeface="+mn-ea"/>
                <a:cs typeface="+mn-cs"/>
              </a:rPr>
              <a:t> from anywhere, using any device</a:t>
            </a:r>
            <a:r>
              <a:rPr lang="en-US" sz="1200" kern="1200" dirty="0">
                <a:solidFill>
                  <a:schemeClr val="tx1"/>
                </a:solidFill>
                <a:effectLst/>
                <a:latin typeface="Calibri" panose="020F0502020204030204" pitchFamily="34" charset="0"/>
                <a:ea typeface="+mn-ea"/>
                <a:cs typeface="+mn-cs"/>
              </a:rPr>
              <a:t>. (PSTN</a:t>
            </a:r>
            <a:r>
              <a:rPr lang="en-US" sz="1200" kern="1200" baseline="0" dirty="0">
                <a:solidFill>
                  <a:schemeClr val="tx1"/>
                </a:solidFill>
                <a:effectLst/>
                <a:latin typeface="Calibri" panose="020F0502020204030204" pitchFamily="34" charset="0"/>
                <a:ea typeface="+mn-ea"/>
                <a:cs typeface="+mn-cs"/>
              </a:rPr>
              <a:t> Calling is required for a true enterprise voice solution.) </a:t>
            </a:r>
            <a:r>
              <a:rPr lang="en-US" sz="1200" b="0" kern="1200" baseline="0" dirty="0">
                <a:solidFill>
                  <a:schemeClr val="tx1"/>
                </a:solidFill>
                <a:effectLst/>
                <a:latin typeface="Calibri" panose="020F0502020204030204" pitchFamily="34" charset="0"/>
                <a:ea typeface="+mn-ea"/>
                <a:cs typeface="+mn-cs"/>
              </a:rPr>
              <a:t>Cloud PBX also </a:t>
            </a:r>
            <a:r>
              <a:rPr lang="en-US" sz="1200" kern="1200" baseline="0" dirty="0">
                <a:solidFill>
                  <a:schemeClr val="tx1"/>
                </a:solidFill>
                <a:effectLst/>
                <a:latin typeface="Calibri" panose="020F0502020204030204" pitchFamily="34" charset="0"/>
                <a:ea typeface="+mn-ea"/>
                <a:cs typeface="+mn-cs"/>
              </a:rPr>
              <a:t>provides g</a:t>
            </a:r>
            <a:r>
              <a:rPr lang="en-US" sz="1200" kern="1200" dirty="0">
                <a:solidFill>
                  <a:schemeClr val="tx1"/>
                </a:solidFill>
                <a:effectLst/>
                <a:latin typeface="Calibri" panose="020F0502020204030204" pitchFamily="34" charset="0"/>
                <a:ea typeface="+mn-ea"/>
                <a:cs typeface="+mn-cs"/>
              </a:rPr>
              <a:t>reat controls for IT to increase agility</a:t>
            </a:r>
            <a:r>
              <a:rPr lang="en-US" sz="1200" kern="1200" baseline="0" dirty="0">
                <a:solidFill>
                  <a:schemeClr val="tx1"/>
                </a:solidFill>
                <a:effectLst/>
                <a:latin typeface="Calibri" panose="020F0502020204030204" pitchFamily="34" charset="0"/>
                <a:ea typeface="+mn-ea"/>
                <a:cs typeface="+mn-cs"/>
              </a:rPr>
              <a:t> and consolidate management </a:t>
            </a:r>
            <a:r>
              <a:rPr lang="en-US" sz="1200" kern="1200" dirty="0">
                <a:solidFill>
                  <a:schemeClr val="tx1"/>
                </a:solidFill>
                <a:effectLst/>
                <a:latin typeface="Calibri" panose="020F0502020204030204" pitchFamily="34" charset="0"/>
                <a:ea typeface="+mn-ea"/>
                <a:cs typeface="+mn-cs"/>
              </a:rPr>
              <a:t>compared to traditional phone hardware. </a:t>
            </a:r>
          </a:p>
          <a:p>
            <a:pPr marL="171450" marR="0" indent="-171450" algn="l" defTabSz="9142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Calibri" panose="020F0502020204030204" pitchFamily="34" charset="0"/>
                <a:cs typeface="Segoe UI" panose="020B0502040204020203" pitchFamily="34" charset="0"/>
              </a:rPr>
              <a:t>PSTN Calling</a:t>
            </a:r>
            <a:r>
              <a:rPr lang="en-US" sz="1200" dirty="0">
                <a:solidFill>
                  <a:schemeClr val="tx1"/>
                </a:solidFill>
                <a:latin typeface="Calibri" panose="020F0502020204030204" pitchFamily="34" charset="0"/>
                <a:cs typeface="Segoe UI" panose="020B0502040204020203" pitchFamily="34" charset="0"/>
              </a:rPr>
              <a:t> is an add-on to Cloud PBX that provides domestic and international calling services for businesses directly from Office 365. Instead of contracting with a traditional telephony carrier and using an on-premises IP-PBX, you can purchase the Cloud PBX from Microsoft and add on PSTN Calling for a complete enterprise telephony experience for end-users.</a:t>
            </a:r>
            <a:r>
              <a:rPr lang="en-US" sz="1200" baseline="0" dirty="0">
                <a:solidFill>
                  <a:schemeClr val="tx1"/>
                </a:solidFill>
                <a:latin typeface="Calibri" panose="020F0502020204030204" pitchFamily="34" charset="0"/>
                <a:cs typeface="Segoe UI" panose="020B0502040204020203" pitchFamily="34" charset="0"/>
              </a:rPr>
              <a:t> </a:t>
            </a:r>
            <a:endParaRPr lang="en-US" dirty="0">
              <a:latin typeface="Segoe UI" panose="020B0502040204020203" pitchFamily="34" charset="0"/>
            </a:endParaRPr>
          </a:p>
          <a:p>
            <a:pPr defTabSz="950464">
              <a:lnSpc>
                <a:spcPct val="90000"/>
              </a:lnSpc>
              <a:spcAft>
                <a:spcPts val="346"/>
              </a:spcAft>
              <a:defRPr/>
            </a:pPr>
            <a:r>
              <a:rPr lang="en-US" dirty="0">
                <a:latin typeface="Segoe UI" panose="020B0502040204020203" pitchFamily="34" charset="0"/>
              </a:rPr>
              <a:t>--------------------------------------------------------------------------------------------------------------------------------------------------------------------------------------</a:t>
            </a:r>
          </a:p>
          <a:p>
            <a:pPr defTabSz="950464">
              <a:lnSpc>
                <a:spcPct val="90000"/>
              </a:lnSpc>
              <a:spcAft>
                <a:spcPts val="346"/>
              </a:spcAft>
              <a:defRPr/>
            </a:pPr>
            <a:endParaRPr lang="en-US" baseline="0" dirty="0">
              <a:latin typeface="Segoe UI" panose="020B0502040204020203" pitchFamily="34" charset="0"/>
            </a:endParaRPr>
          </a:p>
          <a:p>
            <a:pPr defTabSz="950464">
              <a:lnSpc>
                <a:spcPct val="90000"/>
              </a:lnSpc>
              <a:spcAft>
                <a:spcPts val="346"/>
              </a:spcAft>
              <a:defRPr/>
            </a:pPr>
            <a:r>
              <a:rPr lang="en-US" baseline="0" dirty="0">
                <a:latin typeface="Segoe UI" panose="020B0502040204020203" pitchFamily="34" charset="0"/>
              </a:rPr>
              <a:t>Differences between E3 and E5</a:t>
            </a:r>
          </a:p>
          <a:p>
            <a:pPr defTabSz="950464">
              <a:lnSpc>
                <a:spcPct val="90000"/>
              </a:lnSpc>
              <a:spcAft>
                <a:spcPts val="346"/>
              </a:spcAft>
              <a:defRPr/>
            </a:pPr>
            <a:r>
              <a:rPr lang="en-US" dirty="0">
                <a:latin typeface="Segoe UI" panose="020B0502040204020203" pitchFamily="34" charset="0"/>
              </a:rPr>
              <a:t>MEETINGS</a:t>
            </a:r>
          </a:p>
          <a:p>
            <a:pPr defTabSz="950464">
              <a:lnSpc>
                <a:spcPct val="90000"/>
              </a:lnSpc>
              <a:spcAft>
                <a:spcPts val="346"/>
              </a:spcAft>
              <a:defRPr/>
            </a:pPr>
            <a:r>
              <a:rPr lang="en-US" dirty="0">
                <a:latin typeface="Segoe UI" panose="020B0502040204020203" pitchFamily="34" charset="0"/>
              </a:rPr>
              <a:t>With E3,</a:t>
            </a:r>
            <a:r>
              <a:rPr lang="en-US" baseline="0" dirty="0">
                <a:latin typeface="Segoe UI" panose="020B0502040204020203" pitchFamily="34" charset="0"/>
              </a:rPr>
              <a:t> you have audio, video, and web conferencing on the Internet</a:t>
            </a:r>
          </a:p>
          <a:p>
            <a:pPr defTabSz="950464">
              <a:lnSpc>
                <a:spcPct val="90000"/>
              </a:lnSpc>
              <a:spcAft>
                <a:spcPts val="346"/>
              </a:spcAft>
              <a:defRPr/>
            </a:pPr>
            <a:r>
              <a:rPr lang="en-US" baseline="0" dirty="0">
                <a:latin typeface="Segoe UI" panose="020B0502040204020203" pitchFamily="34" charset="0"/>
              </a:rPr>
              <a:t>With E3, scales from 2 to 10,000 people</a:t>
            </a:r>
          </a:p>
          <a:p>
            <a:pPr defTabSz="950464">
              <a:lnSpc>
                <a:spcPct val="90000"/>
              </a:lnSpc>
              <a:spcAft>
                <a:spcPts val="346"/>
              </a:spcAft>
              <a:defRPr/>
            </a:pPr>
            <a:r>
              <a:rPr lang="en-US" dirty="0">
                <a:latin typeface="Segoe UI" panose="020B0502040204020203" pitchFamily="34" charset="0"/>
              </a:rPr>
              <a:t>With E3, easy join via smartphone, tablet, PC, Mac, and browser</a:t>
            </a:r>
          </a:p>
          <a:p>
            <a:pPr defTabSz="950464">
              <a:lnSpc>
                <a:spcPct val="90000"/>
              </a:lnSpc>
              <a:spcAft>
                <a:spcPts val="346"/>
              </a:spcAft>
              <a:defRPr/>
            </a:pPr>
            <a:endParaRPr lang="en-US" dirty="0">
              <a:latin typeface="Segoe UI" panose="020B0502040204020203" pitchFamily="34" charset="0"/>
            </a:endParaRPr>
          </a:p>
          <a:p>
            <a:pPr defTabSz="950464">
              <a:lnSpc>
                <a:spcPct val="90000"/>
              </a:lnSpc>
              <a:spcAft>
                <a:spcPts val="346"/>
              </a:spcAft>
              <a:defRPr/>
            </a:pPr>
            <a:r>
              <a:rPr lang="en-US" dirty="0">
                <a:latin typeface="Segoe UI" panose="020B0502040204020203" pitchFamily="34" charset="0"/>
              </a:rPr>
              <a:t>With</a:t>
            </a:r>
            <a:r>
              <a:rPr lang="en-US" baseline="0" dirty="0">
                <a:latin typeface="Segoe UI" panose="020B0502040204020203" pitchFamily="34" charset="0"/>
              </a:rPr>
              <a:t> E5, PSTN Conferencing adds dial-in numbers around the world for joining by phone when more convenient or when Internet is unavailable.</a:t>
            </a:r>
          </a:p>
          <a:p>
            <a:pPr defTabSz="950464">
              <a:lnSpc>
                <a:spcPct val="90000"/>
              </a:lnSpc>
              <a:spcAft>
                <a:spcPts val="346"/>
              </a:spcAft>
              <a:defRPr/>
            </a:pPr>
            <a:endParaRPr lang="en-US" baseline="0" dirty="0">
              <a:latin typeface="Segoe UI" panose="020B0502040204020203" pitchFamily="34" charset="0"/>
            </a:endParaRPr>
          </a:p>
          <a:p>
            <a:pPr defTabSz="950464">
              <a:lnSpc>
                <a:spcPct val="90000"/>
              </a:lnSpc>
              <a:spcAft>
                <a:spcPts val="346"/>
              </a:spcAft>
              <a:defRPr/>
            </a:pPr>
            <a:r>
              <a:rPr lang="en-US" dirty="0">
                <a:latin typeface="Segoe UI" panose="020B0502040204020203" pitchFamily="34" charset="0"/>
              </a:rPr>
              <a:t>VOICE</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dirty="0">
                <a:latin typeface="Segoe UI" panose="020B0502040204020203" pitchFamily="34" charset="0"/>
              </a:rPr>
              <a:t>With E3, Person-to-person calling on the Internet</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dirty="0">
                <a:latin typeface="Segoe UI" panose="020B0502040204020203" pitchFamily="34" charset="0"/>
              </a:rPr>
              <a:t>With E3, Reach Skype users in your company and worldwide</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dirty="0">
                <a:latin typeface="Segoe UI" panose="020B0502040204020203" pitchFamily="34" charset="0"/>
              </a:rPr>
              <a:t>With E3, Dial-by-name from Office on smartphone, tablet, PC, Mac</a:t>
            </a: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dirty="0">
              <a:latin typeface="Segoe UI" panose="020B0502040204020203" pitchFamily="34" charset="0"/>
            </a:endParaRP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dirty="0">
                <a:latin typeface="Segoe UI" panose="020B0502040204020203" pitchFamily="34" charset="0"/>
              </a:rPr>
              <a:t>With E5, </a:t>
            </a:r>
            <a:r>
              <a:rPr lang="en-US" sz="1200" b="1" i="1" dirty="0">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Cloud PBX</a:t>
            </a:r>
            <a:r>
              <a:rPr lang="en-US" sz="1200" b="1" dirty="0">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 adds sophisticated calling features including voice mail, call transfer, admin support, plus option to call traditional phone numbers</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dirty="0">
                <a:latin typeface="Segoe UI" panose="020B0502040204020203" pitchFamily="34" charset="0"/>
              </a:rPr>
              <a:t>Save $5 per user* by enabling Cloud PBX, retiring Cisco or other traditional PBX system (Based on Cisco Call Manager price of $13 per month vs. Cloud PBX at $8)</a:t>
            </a: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dirty="0">
              <a:latin typeface="Segoe UI" panose="020B0502040204020203" pitchFamily="34" charset="0"/>
            </a:endParaRP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dirty="0">
              <a:latin typeface="Segoe UI" panose="020B0502040204020203" pitchFamily="34" charset="0"/>
            </a:endParaRP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dirty="0">
              <a:latin typeface="Segoe UI" panose="020B0502040204020203" pitchFamily="34" charset="0"/>
            </a:endParaRPr>
          </a:p>
          <a:p>
            <a:pPr defTabSz="950464">
              <a:lnSpc>
                <a:spcPct val="90000"/>
              </a:lnSpc>
              <a:spcAft>
                <a:spcPts val="346"/>
              </a:spcAft>
              <a:defRPr/>
            </a:pPr>
            <a:endParaRPr lang="en-US" dirty="0">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7C40763C-4443-44E1-B24C-F2584CC42312}" type="slidenum">
              <a:rPr lang="en-US" smtClean="0">
                <a:latin typeface="Segoe UI" panose="020B0502040204020203" pitchFamily="34" charset="0"/>
              </a:rPr>
              <a:t>9</a:t>
            </a:fld>
            <a:endParaRPr lang="en-US" dirty="0">
              <a:latin typeface="Segoe UI" panose="020B0502040204020203" pitchFamily="34" charset="0"/>
            </a:endParaRPr>
          </a:p>
        </p:txBody>
      </p:sp>
    </p:spTree>
    <p:extLst>
      <p:ext uri="{BB962C8B-B14F-4D97-AF65-F5344CB8AC3E}">
        <p14:creationId xmlns:p14="http://schemas.microsoft.com/office/powerpoint/2010/main" val="1862403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
            <a:ext cx="12192000" cy="6855744"/>
          </a:xfrm>
          <a:prstGeom prst="rect">
            <a:avLst/>
          </a:prstGeom>
        </p:spPr>
      </p:pic>
      <p:sp>
        <p:nvSpPr>
          <p:cNvPr id="6" name="Rectangle 5"/>
          <p:cNvSpPr/>
          <p:nvPr userDrawn="1"/>
        </p:nvSpPr>
        <p:spPr>
          <a:xfrm>
            <a:off x="0" y="0"/>
            <a:ext cx="5029201"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defTabSz="914367"/>
            <a:endParaRPr lang="en-US" sz="1200" dirty="0" err="1">
              <a:solidFill>
                <a:srgbClr val="FFFFFF"/>
              </a:solidFill>
            </a:endParaRPr>
          </a:p>
        </p:txBody>
      </p:sp>
      <p:sp>
        <p:nvSpPr>
          <p:cNvPr id="2" name="TextBox 1"/>
          <p:cNvSpPr txBox="1"/>
          <p:nvPr userDrawn="1"/>
        </p:nvSpPr>
        <p:spPr>
          <a:xfrm>
            <a:off x="273203" y="1873406"/>
            <a:ext cx="4683513" cy="490654"/>
          </a:xfrm>
          <a:prstGeom prst="rect">
            <a:avLst/>
          </a:prstGeom>
          <a:noFill/>
        </p:spPr>
        <p:txBody>
          <a:bodyPr vert="horz" wrap="square" lIns="91427" tIns="91427" rIns="91427" bIns="91427" rtlCol="0" anchor="t">
            <a:noAutofit/>
          </a:bodyPr>
          <a:lstStyle/>
          <a:p>
            <a:pPr defTabSz="1087869">
              <a:spcBef>
                <a:spcPts val="1800"/>
              </a:spcBef>
              <a:buClr>
                <a:srgbClr val="0072C6"/>
              </a:buClr>
              <a:buSzPct val="100000"/>
              <a:buFont typeface="Wingdings" pitchFamily="2" charset="2"/>
              <a:buNone/>
            </a:pPr>
            <a:r>
              <a:rPr lang="en-US" sz="2000" cap="all" spc="600" dirty="0">
                <a:solidFill>
                  <a:srgbClr val="FFFFFF"/>
                </a:solidFill>
                <a:ea typeface="Segoe UI" pitchFamily="34" charset="0"/>
                <a:cs typeface="Segoe UI" pitchFamily="34" charset="0"/>
              </a:rPr>
              <a:t>MODERN WORKPLACE</a:t>
            </a:r>
          </a:p>
        </p:txBody>
      </p:sp>
      <p:sp>
        <p:nvSpPr>
          <p:cNvPr id="9" name="Title 1"/>
          <p:cNvSpPr>
            <a:spLocks noGrp="1"/>
          </p:cNvSpPr>
          <p:nvPr>
            <p:ph type="title" hasCustomPrompt="1"/>
          </p:nvPr>
        </p:nvSpPr>
        <p:spPr bwMode="ltGray">
          <a:xfrm>
            <a:off x="228600" y="2419816"/>
            <a:ext cx="4633333" cy="1929181"/>
          </a:xfrm>
          <a:noFill/>
        </p:spPr>
        <p:txBody>
          <a:bodyPr vert="horz" lIns="137160" tIns="91440" rIns="91440" bIns="0" rtlCol="0" anchor="b" anchorCtr="0">
            <a:normAutofit/>
          </a:bodyPr>
          <a:lstStyle>
            <a:lvl1pPr marL="0" algn="l" defTabSz="1087869" rtl="0" eaLnBrk="1" latinLnBrk="0" hangingPunct="1">
              <a:lnSpc>
                <a:spcPct val="90000"/>
              </a:lnSpc>
              <a:spcBef>
                <a:spcPct val="0"/>
              </a:spcBef>
              <a:buNone/>
              <a:defRPr lang="en-US" sz="4800" b="1" kern="1200" cap="all" spc="-100" baseline="0" dirty="0">
                <a:solidFill>
                  <a:schemeClr val="accent1"/>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411563" y="5778121"/>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61928" y="247933"/>
            <a:ext cx="1737792" cy="639069"/>
          </a:xfrm>
          <a:prstGeom prst="rect">
            <a:avLst/>
          </a:prstGeom>
        </p:spPr>
      </p:pic>
    </p:spTree>
    <p:extLst>
      <p:ext uri="{BB962C8B-B14F-4D97-AF65-F5344CB8AC3E}">
        <p14:creationId xmlns:p14="http://schemas.microsoft.com/office/powerpoint/2010/main" val="3720175806"/>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209800"/>
            <a:ext cx="7969039" cy="4648200"/>
          </a:xfrm>
          <a:prstGeom prst="rect">
            <a:avLst/>
          </a:prstGeom>
        </p:spPr>
      </p:pic>
      <p:sp>
        <p:nvSpPr>
          <p:cNvPr id="10" name="Picture Placeholder 9"/>
          <p:cNvSpPr>
            <a:spLocks noGrp="1"/>
          </p:cNvSpPr>
          <p:nvPr>
            <p:ph type="pic" sz="quarter" idx="10" hasCustomPrompt="1"/>
          </p:nvPr>
        </p:nvSpPr>
        <p:spPr>
          <a:xfrm>
            <a:off x="1" y="2750821"/>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161440607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423854424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Microsoft logo">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2" descr="C:\Users\v-junyo\Desktop\Dropbox\ZumTeam\Team_Resources\Design Resources\Microsoft Branding\Microsoft_Logo\MSFT_logo_rgb_C-Gray_D.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05954" y="2880972"/>
            <a:ext cx="2980095" cy="109605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266700" y="6444447"/>
            <a:ext cx="11595100" cy="217880"/>
          </a:xfrm>
          <a:prstGeom prst="rect">
            <a:avLst/>
          </a:prstGeom>
        </p:spPr>
        <p:txBody>
          <a:bodyPr wrap="square">
            <a:spAutoFit/>
          </a:bodyPr>
          <a:lstStyle/>
          <a:p>
            <a:pPr marL="0" marR="0" lvl="0" indent="0" algn="l" defTabSz="685438"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97A7D"/>
                </a:solidFill>
                <a:effectLst/>
                <a:uLnTx/>
                <a:uFillTx/>
                <a:latin typeface="Segoe UI"/>
                <a:ea typeface="+mn-ea"/>
                <a:cs typeface="Segoe UI" pitchFamily="34" charset="0"/>
              </a:rPr>
              <a:t>© 2015 Microsoft Corporation. All rights reserved.</a:t>
            </a:r>
            <a:endParaRPr kumimoji="0" lang="en-US" sz="800" b="0" i="0" u="none" strike="noStrike" kern="200" cap="none" spc="7" normalizeH="0" baseline="0" noProof="0" dirty="0">
              <a:ln>
                <a:noFill/>
              </a:ln>
              <a:solidFill>
                <a:srgbClr val="797A7D"/>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41518489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797A7D"/>
                    </a:gs>
                    <a:gs pos="0">
                      <a:srgbClr val="797A7D"/>
                    </a:gs>
                  </a:gsLst>
                  <a:lin ang="5400000" scaled="0"/>
                </a:gradFill>
                <a:effectLst/>
                <a:uLnTx/>
                <a:uFillTx/>
                <a:latin typeface="Segoe UI" pitchFamily="34" charset="0"/>
                <a:cs typeface="Segoe UI"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797A7D"/>
                  </a:gs>
                  <a:gs pos="0">
                    <a:srgbClr val="797A7D"/>
                  </a:gs>
                </a:gsLst>
                <a:lin ang="5400000" scaled="0"/>
              </a:gra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30164230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22408173"/>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6620157"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000000">
              <a:alpha val="70000"/>
            </a:srgbClr>
          </a:solidFill>
        </p:spPr>
        <p:txBody>
          <a:bodyPr lIns="365760" tIns="137160" rIns="137160" bIns="1097280" anchor="b" anchorCtr="0">
            <a:noAutofit/>
          </a:bodyPr>
          <a:lstStyle>
            <a:lvl1pPr>
              <a:defRPr sz="5998"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78314"/>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74554253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6620157"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chemeClr val="accent1">
              <a:alpha val="88000"/>
            </a:schemeClr>
          </a:solidFill>
        </p:spPr>
        <p:txBody>
          <a:bodyPr lIns="365760" tIns="137160" rIns="137160" bIns="1097280" anchor="b" anchorCtr="0">
            <a:noAutofit/>
          </a:bodyPr>
          <a:lstStyle>
            <a:lvl1pPr>
              <a:defRPr sz="5998"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78314"/>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58444997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10376208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1"/>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97678894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Microsoft logo">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2" descr="C:\Users\v-junyo\Desktop\Dropbox\ZumTeam\Team_Resources\Design Resources\Microsoft Branding\Microsoft_Logo\MSFT_logo_rgb_C-Gray_D.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05954" y="2880972"/>
            <a:ext cx="2980095" cy="109605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266700" y="6444447"/>
            <a:ext cx="11595100" cy="217880"/>
          </a:xfrm>
          <a:prstGeom prst="rect">
            <a:avLst/>
          </a:prstGeom>
        </p:spPr>
        <p:txBody>
          <a:bodyPr wrap="square">
            <a:spAutoFit/>
          </a:bodyPr>
          <a:lstStyle/>
          <a:p>
            <a:pPr defTabSz="685438" eaLnBrk="0" hangingPunct="0"/>
            <a:r>
              <a:rPr lang="en-US" sz="800" dirty="0">
                <a:solidFill>
                  <a:srgbClr val="797A7D"/>
                </a:solidFill>
                <a:cs typeface="Segoe UI" pitchFamily="34" charset="0"/>
              </a:rPr>
              <a:t>© 2015 Microsoft Corporation. All rights reserved.</a:t>
            </a:r>
            <a:endParaRPr lang="en-US" sz="800" kern="200" spc="7" dirty="0">
              <a:solidFill>
                <a:srgbClr val="797A7D"/>
              </a:solidFill>
              <a:cs typeface="Segoe UI" pitchFamily="34" charset="0"/>
            </a:endParaRPr>
          </a:p>
        </p:txBody>
      </p:sp>
    </p:spTree>
    <p:extLst>
      <p:ext uri="{BB962C8B-B14F-4D97-AF65-F5344CB8AC3E}">
        <p14:creationId xmlns:p14="http://schemas.microsoft.com/office/powerpoint/2010/main" val="161881458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a:latin typeface="+mn-lt"/>
              </a:defRPr>
            </a:lvl2pPr>
            <a:lvl3pPr marL="741221" indent="-223795">
              <a:buFont typeface="Wingdings" pitchFamily="2" charset="2"/>
              <a:buChar char=""/>
              <a:tabLst/>
              <a:defRPr>
                <a:latin typeface="+mn-lt"/>
              </a:defRPr>
            </a:lvl3pPr>
            <a:lvl4pPr marL="914225" indent="-173004">
              <a:buFont typeface="Wingdings" pitchFamily="2" charset="2"/>
              <a:buChar char=""/>
              <a:defRPr>
                <a:latin typeface="+mn-lt"/>
              </a:defRPr>
            </a:lvl4pPr>
            <a:lvl5pPr marL="1087229" indent="-173004">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28431993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56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8"/>
            <a:endParaRPr lang="en-US">
              <a:solidFill>
                <a:srgbClr val="E4DED8"/>
              </a:solidFill>
            </a:endParaRPr>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3" y="4836014"/>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algn="ctr" defTabSz="914228"/>
              <a:endParaRPr lang="en-US">
                <a:solidFill>
                  <a:srgbClr val="E4DED8"/>
                </a:solidFill>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kern="0" dirty="0">
                  <a:solidFill>
                    <a:srgbClr val="FBFBFB"/>
                  </a:solidFill>
                </a:rPr>
                <a:t>MICROSOFT 2015</a:t>
              </a:r>
            </a:p>
          </p:txBody>
        </p:sp>
      </p:grpSp>
    </p:spTree>
    <p:extLst>
      <p:ext uri="{BB962C8B-B14F-4D97-AF65-F5344CB8AC3E}">
        <p14:creationId xmlns:p14="http://schemas.microsoft.com/office/powerpoint/2010/main" val="551165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7869"/>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600" y="1600200"/>
            <a:ext cx="5408613" cy="4876800"/>
          </a:xfrm>
        </p:spPr>
        <p:txBody>
          <a:bodyPr r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253722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4"/>
            <a:ext cx="8200118" cy="914400"/>
          </a:xfrm>
        </p:spPr>
        <p:txBody>
          <a:bodyPr>
            <a:noAutofit/>
          </a:bodyPr>
          <a:lstStyle>
            <a:lvl1pPr algn="ctr">
              <a:defRPr sz="8000" b="1" i="1">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3536058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8000" b="0" i="0">
                <a:solidFill>
                  <a:schemeClr val="accent1"/>
                </a:solidFill>
                <a:latin typeface="+mj-lt"/>
              </a:defRPr>
            </a:lvl1pPr>
            <a:lvl2pPr>
              <a:defRPr sz="8800">
                <a:solidFill>
                  <a:schemeClr val="accent1"/>
                </a:solidFill>
                <a:latin typeface="+mj-lt"/>
              </a:defRPr>
            </a:lvl2pPr>
            <a:lvl3pPr>
              <a:defRPr sz="8800">
                <a:solidFill>
                  <a:schemeClr val="accent1"/>
                </a:solidFill>
                <a:latin typeface="+mj-lt"/>
              </a:defRPr>
            </a:lvl3pPr>
            <a:lvl4pPr>
              <a:defRPr sz="8800">
                <a:solidFill>
                  <a:schemeClr val="accent1"/>
                </a:solidFill>
                <a:latin typeface="+mj-lt"/>
              </a:defRPr>
            </a:lvl4pPr>
            <a:lvl5pPr>
              <a:defRPr sz="8800">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553943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41697359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6358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7728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3051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9" name="Title 1"/>
          <p:cNvSpPr>
            <a:spLocks noGrp="1"/>
          </p:cNvSpPr>
          <p:nvPr>
            <p:ph type="title" hasCustomPrompt="1"/>
          </p:nvPr>
        </p:nvSpPr>
        <p:spPr bwMode="auto">
          <a:xfrm>
            <a:off x="269302" y="2980728"/>
            <a:ext cx="7171336" cy="2241359"/>
          </a:xfrm>
          <a:noFill/>
        </p:spPr>
        <p:txBody>
          <a:bodyPr lIns="146304" tIns="91440" rIns="146304" bIns="91440" anchor="t" anchorCtr="0"/>
          <a:lstStyle>
            <a:lvl1pPr>
              <a:defRPr sz="470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3" y="5222085"/>
            <a:ext cx="4165590" cy="1344848"/>
          </a:xfrm>
        </p:spPr>
        <p:txBody>
          <a:bodyPr tIns="109728" bIns="109728">
            <a:noAutofit/>
          </a:bodyPr>
          <a:lstStyle>
            <a:lvl1pPr marL="0" indent="0">
              <a:spcBef>
                <a:spcPts val="0"/>
              </a:spcBef>
              <a:buNone/>
              <a:defRPr sz="2352">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7" y="470067"/>
            <a:ext cx="1254995" cy="269134"/>
          </a:xfrm>
          <a:prstGeom prst="rect">
            <a:avLst/>
          </a:prstGeom>
        </p:spPr>
      </p:pic>
    </p:spTree>
    <p:extLst>
      <p:ext uri="{BB962C8B-B14F-4D97-AF65-F5344CB8AC3E}">
        <p14:creationId xmlns:p14="http://schemas.microsoft.com/office/powerpoint/2010/main" val="396226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2" y="-19"/>
            <a:ext cx="12191377" cy="6858038"/>
          </a:xfrm>
          <a:prstGeom prst="rect">
            <a:avLst/>
          </a:prstGeom>
        </p:spPr>
      </p:pic>
      <p:pic>
        <p:nvPicPr>
          <p:cNvPr id="11" name="Picture 10"/>
          <p:cNvPicPr>
            <a:picLocks noChangeAspect="1"/>
          </p:cNvPicPr>
          <p:nvPr userDrawn="1"/>
        </p:nvPicPr>
        <p:blipFill>
          <a:blip r:embed="rId3"/>
          <a:stretch>
            <a:fillRect/>
          </a:stretch>
        </p:blipFill>
        <p:spPr>
          <a:xfrm>
            <a:off x="448587" y="470067"/>
            <a:ext cx="1254995" cy="269134"/>
          </a:xfrm>
          <a:prstGeom prst="rect">
            <a:avLst/>
          </a:prstGeom>
        </p:spPr>
      </p:pic>
      <p:sp>
        <p:nvSpPr>
          <p:cNvPr id="9" name="Title 1"/>
          <p:cNvSpPr>
            <a:spLocks noGrp="1"/>
          </p:cNvSpPr>
          <p:nvPr>
            <p:ph type="title" hasCustomPrompt="1"/>
          </p:nvPr>
        </p:nvSpPr>
        <p:spPr bwMode="auto">
          <a:xfrm>
            <a:off x="269302" y="2980724"/>
            <a:ext cx="7171336" cy="1793104"/>
          </a:xfrm>
          <a:noFill/>
        </p:spPr>
        <p:txBody>
          <a:bodyPr lIns="146304" tIns="91440" rIns="146304" bIns="91440" anchor="t" anchorCtr="0"/>
          <a:lstStyle>
            <a:lvl1pPr>
              <a:defRPr sz="470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4773828"/>
            <a:ext cx="4165590" cy="1793104"/>
          </a:xfrm>
        </p:spPr>
        <p:txBody>
          <a:bodyPr tIns="109728" bIns="109728">
            <a:noAutofit/>
          </a:bodyPr>
          <a:lstStyle>
            <a:lvl1pPr marL="0" indent="0">
              <a:spcBef>
                <a:spcPts val="0"/>
              </a:spcBef>
              <a:buNone/>
              <a:defRPr sz="2744">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110376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3"/>
            <a:ext cx="12192000" cy="6985635"/>
          </a:xfrm>
          <a:prstGeom prst="rect">
            <a:avLst/>
          </a:prstGeom>
        </p:spPr>
      </p:pic>
      <p:pic>
        <p:nvPicPr>
          <p:cNvPr id="7" name="Picture 6"/>
          <p:cNvPicPr>
            <a:picLocks noChangeAspect="1"/>
          </p:cNvPicPr>
          <p:nvPr userDrawn="1"/>
        </p:nvPicPr>
        <p:blipFill>
          <a:blip r:embed="rId3"/>
          <a:stretch>
            <a:fillRect/>
          </a:stretch>
        </p:blipFill>
        <p:spPr>
          <a:xfrm>
            <a:off x="450207" y="470067"/>
            <a:ext cx="1254209" cy="268966"/>
          </a:xfrm>
          <a:prstGeom prst="rect">
            <a:avLst/>
          </a:prstGeom>
        </p:spPr>
      </p:pic>
      <p:sp>
        <p:nvSpPr>
          <p:cNvPr id="9" name="Title 1"/>
          <p:cNvSpPr>
            <a:spLocks noGrp="1"/>
          </p:cNvSpPr>
          <p:nvPr>
            <p:ph type="title" hasCustomPrompt="1"/>
          </p:nvPr>
        </p:nvSpPr>
        <p:spPr bwMode="auto">
          <a:xfrm>
            <a:off x="269302" y="2980724"/>
            <a:ext cx="7171336" cy="1793104"/>
          </a:xfrm>
          <a:noFill/>
        </p:spPr>
        <p:txBody>
          <a:bodyPr lIns="146304" tIns="91440" rIns="146304" bIns="91440" anchor="t" anchorCtr="0"/>
          <a:lstStyle>
            <a:lvl1pPr>
              <a:defRPr sz="470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4773828"/>
            <a:ext cx="4165590" cy="1793104"/>
          </a:xfrm>
        </p:spPr>
        <p:txBody>
          <a:bodyPr tIns="109728" bIns="109728">
            <a:noAutofit/>
          </a:bodyPr>
          <a:lstStyle>
            <a:lvl1pPr marL="0" indent="0">
              <a:spcBef>
                <a:spcPts val="0"/>
              </a:spcBef>
              <a:buNone/>
              <a:defRPr sz="2744">
                <a:gradFill>
                  <a:gsLst>
                    <a:gs pos="57576">
                      <a:srgbClr val="FFFFFF"/>
                    </a:gs>
                    <a:gs pos="35000">
                      <a:srgbClr val="FFFFFF"/>
                    </a:gs>
                  </a:gsLst>
                  <a:lin ang="5400000" scaled="0"/>
                </a:gradFill>
              </a:defRPr>
            </a:lvl1pPr>
          </a:lstStyle>
          <a:p>
            <a:pPr lvl="0"/>
            <a:r>
              <a:rPr lang="en-US" dirty="0"/>
              <a:t>Speaker Name</a:t>
            </a:r>
          </a:p>
        </p:txBody>
      </p:sp>
    </p:spTree>
    <p:extLst>
      <p:ext uri="{BB962C8B-B14F-4D97-AF65-F5344CB8AC3E}">
        <p14:creationId xmlns:p14="http://schemas.microsoft.com/office/powerpoint/2010/main" val="385852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7171337"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Freeform 6"/>
          <p:cNvSpPr>
            <a:spLocks noChangeAspect="1" noEditPoints="1"/>
          </p:cNvSpPr>
          <p:nvPr userDrawn="1"/>
        </p:nvSpPr>
        <p:spPr bwMode="auto">
          <a:xfrm>
            <a:off x="448585" y="6002269"/>
            <a:ext cx="2814774" cy="392278"/>
          </a:xfrm>
          <a:custGeom>
            <a:avLst/>
            <a:gdLst>
              <a:gd name="T0" fmla="*/ 20 w 4025"/>
              <a:gd name="T1" fmla="*/ 233 h 558"/>
              <a:gd name="T2" fmla="*/ 401 w 4025"/>
              <a:gd name="T3" fmla="*/ 518 h 558"/>
              <a:gd name="T4" fmla="*/ 62 w 4025"/>
              <a:gd name="T5" fmla="*/ 226 h 558"/>
              <a:gd name="T6" fmla="*/ 278 w 4025"/>
              <a:gd name="T7" fmla="*/ 56 h 558"/>
              <a:gd name="T8" fmla="*/ 326 w 4025"/>
              <a:gd name="T9" fmla="*/ 254 h 558"/>
              <a:gd name="T10" fmla="*/ 151 w 4025"/>
              <a:gd name="T11" fmla="*/ 211 h 558"/>
              <a:gd name="T12" fmla="*/ 279 w 4025"/>
              <a:gd name="T13" fmla="*/ 440 h 558"/>
              <a:gd name="T14" fmla="*/ 808 w 4025"/>
              <a:gd name="T15" fmla="*/ 406 h 558"/>
              <a:gd name="T16" fmla="*/ 824 w 4025"/>
              <a:gd name="T17" fmla="*/ 290 h 558"/>
              <a:gd name="T18" fmla="*/ 815 w 4025"/>
              <a:gd name="T19" fmla="*/ 123 h 558"/>
              <a:gd name="T20" fmla="*/ 791 w 4025"/>
              <a:gd name="T21" fmla="*/ 176 h 558"/>
              <a:gd name="T22" fmla="*/ 910 w 4025"/>
              <a:gd name="T23" fmla="*/ 301 h 558"/>
              <a:gd name="T24" fmla="*/ 806 w 4025"/>
              <a:gd name="T25" fmla="*/ 439 h 558"/>
              <a:gd name="T26" fmla="*/ 998 w 4025"/>
              <a:gd name="T27" fmla="*/ 328 h 558"/>
              <a:gd name="T28" fmla="*/ 1092 w 4025"/>
              <a:gd name="T29" fmla="*/ 213 h 558"/>
              <a:gd name="T30" fmla="*/ 1163 w 4025"/>
              <a:gd name="T31" fmla="*/ 537 h 558"/>
              <a:gd name="T32" fmla="*/ 1255 w 4025"/>
              <a:gd name="T33" fmla="*/ 384 h 558"/>
              <a:gd name="T34" fmla="*/ 1419 w 4025"/>
              <a:gd name="T35" fmla="*/ 403 h 558"/>
              <a:gd name="T36" fmla="*/ 1497 w 4025"/>
              <a:gd name="T37" fmla="*/ 207 h 558"/>
              <a:gd name="T38" fmla="*/ 1419 w 4025"/>
              <a:gd name="T39" fmla="*/ 344 h 558"/>
              <a:gd name="T40" fmla="*/ 1438 w 4025"/>
              <a:gd name="T41" fmla="*/ 259 h 558"/>
              <a:gd name="T42" fmla="*/ 1789 w 4025"/>
              <a:gd name="T43" fmla="*/ 419 h 558"/>
              <a:gd name="T44" fmla="*/ 1804 w 4025"/>
              <a:gd name="T45" fmla="*/ 314 h 558"/>
              <a:gd name="T46" fmla="*/ 1768 w 4025"/>
              <a:gd name="T47" fmla="*/ 303 h 558"/>
              <a:gd name="T48" fmla="*/ 2008 w 4025"/>
              <a:gd name="T49" fmla="*/ 243 h 558"/>
              <a:gd name="T50" fmla="*/ 1973 w 4025"/>
              <a:gd name="T51" fmla="*/ 176 h 558"/>
              <a:gd name="T52" fmla="*/ 2067 w 4025"/>
              <a:gd name="T53" fmla="*/ 326 h 558"/>
              <a:gd name="T54" fmla="*/ 2178 w 4025"/>
              <a:gd name="T55" fmla="*/ 237 h 558"/>
              <a:gd name="T56" fmla="*/ 2231 w 4025"/>
              <a:gd name="T57" fmla="*/ 260 h 558"/>
              <a:gd name="T58" fmla="*/ 2317 w 4025"/>
              <a:gd name="T59" fmla="*/ 435 h 558"/>
              <a:gd name="T60" fmla="*/ 2433 w 4025"/>
              <a:gd name="T61" fmla="*/ 212 h 558"/>
              <a:gd name="T62" fmla="*/ 2725 w 4025"/>
              <a:gd name="T63" fmla="*/ 241 h 558"/>
              <a:gd name="T64" fmla="*/ 2562 w 4025"/>
              <a:gd name="T65" fmla="*/ 435 h 558"/>
              <a:gd name="T66" fmla="*/ 2599 w 4025"/>
              <a:gd name="T67" fmla="*/ 156 h 558"/>
              <a:gd name="T68" fmla="*/ 2599 w 4025"/>
              <a:gd name="T69" fmla="*/ 290 h 558"/>
              <a:gd name="T70" fmla="*/ 2787 w 4025"/>
              <a:gd name="T71" fmla="*/ 213 h 558"/>
              <a:gd name="T72" fmla="*/ 2972 w 4025"/>
              <a:gd name="T73" fmla="*/ 213 h 558"/>
              <a:gd name="T74" fmla="*/ 3105 w 4025"/>
              <a:gd name="T75" fmla="*/ 353 h 558"/>
              <a:gd name="T76" fmla="*/ 3017 w 4025"/>
              <a:gd name="T77" fmla="*/ 244 h 558"/>
              <a:gd name="T78" fmla="*/ 3072 w 4025"/>
              <a:gd name="T79" fmla="*/ 240 h 558"/>
              <a:gd name="T80" fmla="*/ 3093 w 4025"/>
              <a:gd name="T81" fmla="*/ 310 h 558"/>
              <a:gd name="T82" fmla="*/ 3102 w 4025"/>
              <a:gd name="T83" fmla="*/ 436 h 558"/>
              <a:gd name="T84" fmla="*/ 3212 w 4025"/>
              <a:gd name="T85" fmla="*/ 110 h 558"/>
              <a:gd name="T86" fmla="*/ 3194 w 4025"/>
              <a:gd name="T87" fmla="*/ 213 h 558"/>
              <a:gd name="T88" fmla="*/ 3329 w 4025"/>
              <a:gd name="T89" fmla="*/ 257 h 558"/>
              <a:gd name="T90" fmla="*/ 3312 w 4025"/>
              <a:gd name="T91" fmla="*/ 250 h 558"/>
              <a:gd name="T92" fmla="*/ 3544 w 4025"/>
              <a:gd name="T93" fmla="*/ 390 h 558"/>
              <a:gd name="T94" fmla="*/ 3516 w 4025"/>
              <a:gd name="T95" fmla="*/ 240 h 558"/>
              <a:gd name="T96" fmla="*/ 3589 w 4025"/>
              <a:gd name="T97" fmla="*/ 237 h 558"/>
              <a:gd name="T98" fmla="*/ 3817 w 4025"/>
              <a:gd name="T99" fmla="*/ 379 h 558"/>
              <a:gd name="T100" fmla="*/ 3710 w 4025"/>
              <a:gd name="T101" fmla="*/ 294 h 558"/>
              <a:gd name="T102" fmla="*/ 3843 w 4025"/>
              <a:gd name="T103" fmla="*/ 253 h 558"/>
              <a:gd name="T104" fmla="*/ 3755 w 4025"/>
              <a:gd name="T105" fmla="*/ 294 h 558"/>
              <a:gd name="T106" fmla="*/ 3846 w 4025"/>
              <a:gd name="T107" fmla="*/ 404 h 558"/>
              <a:gd name="T108" fmla="*/ 3941 w 4025"/>
              <a:gd name="T109" fmla="*/ 410 h 558"/>
              <a:gd name="T110" fmla="*/ 3893 w 4025"/>
              <a:gd name="T111" fmla="*/ 311 h 558"/>
              <a:gd name="T112" fmla="*/ 4015 w 4025"/>
              <a:gd name="T113" fmla="*/ 217 h 558"/>
              <a:gd name="T114" fmla="*/ 3917 w 4025"/>
              <a:gd name="T115" fmla="*/ 283 h 558"/>
              <a:gd name="T116" fmla="*/ 4025 w 4025"/>
              <a:gd name="T117" fmla="*/ 376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5" h="558">
                <a:moveTo>
                  <a:pt x="537" y="324"/>
                </a:moveTo>
                <a:cubicBezTo>
                  <a:pt x="539" y="310"/>
                  <a:pt x="541" y="295"/>
                  <a:pt x="541" y="279"/>
                </a:cubicBezTo>
                <a:cubicBezTo>
                  <a:pt x="541" y="134"/>
                  <a:pt x="423" y="17"/>
                  <a:pt x="278" y="17"/>
                </a:cubicBezTo>
                <a:cubicBezTo>
                  <a:pt x="263" y="17"/>
                  <a:pt x="248" y="18"/>
                  <a:pt x="233" y="21"/>
                </a:cubicBezTo>
                <a:cubicBezTo>
                  <a:pt x="210" y="8"/>
                  <a:pt x="184" y="0"/>
                  <a:pt x="156" y="0"/>
                </a:cubicBezTo>
                <a:cubicBezTo>
                  <a:pt x="69" y="0"/>
                  <a:pt x="0" y="70"/>
                  <a:pt x="0" y="156"/>
                </a:cubicBezTo>
                <a:cubicBezTo>
                  <a:pt x="0" y="184"/>
                  <a:pt x="7" y="211"/>
                  <a:pt x="20" y="233"/>
                </a:cubicBezTo>
                <a:cubicBezTo>
                  <a:pt x="18" y="248"/>
                  <a:pt x="16" y="263"/>
                  <a:pt x="16" y="279"/>
                </a:cubicBezTo>
                <a:cubicBezTo>
                  <a:pt x="16" y="424"/>
                  <a:pt x="134" y="541"/>
                  <a:pt x="278" y="541"/>
                </a:cubicBezTo>
                <a:cubicBezTo>
                  <a:pt x="294" y="541"/>
                  <a:pt x="309" y="540"/>
                  <a:pt x="324" y="537"/>
                </a:cubicBezTo>
                <a:cubicBezTo>
                  <a:pt x="347" y="550"/>
                  <a:pt x="373" y="558"/>
                  <a:pt x="401" y="558"/>
                </a:cubicBezTo>
                <a:cubicBezTo>
                  <a:pt x="487" y="558"/>
                  <a:pt x="557" y="488"/>
                  <a:pt x="557" y="402"/>
                </a:cubicBezTo>
                <a:cubicBezTo>
                  <a:pt x="557" y="374"/>
                  <a:pt x="550" y="347"/>
                  <a:pt x="537" y="324"/>
                </a:cubicBezTo>
                <a:close/>
                <a:moveTo>
                  <a:pt x="401" y="518"/>
                </a:moveTo>
                <a:cubicBezTo>
                  <a:pt x="381" y="518"/>
                  <a:pt x="361" y="513"/>
                  <a:pt x="344" y="503"/>
                </a:cubicBezTo>
                <a:cubicBezTo>
                  <a:pt x="331" y="496"/>
                  <a:pt x="331" y="496"/>
                  <a:pt x="331" y="496"/>
                </a:cubicBezTo>
                <a:cubicBezTo>
                  <a:pt x="317" y="498"/>
                  <a:pt x="317" y="498"/>
                  <a:pt x="317" y="498"/>
                </a:cubicBezTo>
                <a:cubicBezTo>
                  <a:pt x="305" y="500"/>
                  <a:pt x="292" y="501"/>
                  <a:pt x="278" y="501"/>
                </a:cubicBezTo>
                <a:cubicBezTo>
                  <a:pt x="156" y="501"/>
                  <a:pt x="56" y="402"/>
                  <a:pt x="56" y="279"/>
                </a:cubicBezTo>
                <a:cubicBezTo>
                  <a:pt x="56" y="266"/>
                  <a:pt x="57" y="253"/>
                  <a:pt x="59" y="240"/>
                </a:cubicBezTo>
                <a:cubicBezTo>
                  <a:pt x="62" y="226"/>
                  <a:pt x="62" y="226"/>
                  <a:pt x="62" y="226"/>
                </a:cubicBezTo>
                <a:cubicBezTo>
                  <a:pt x="55" y="214"/>
                  <a:pt x="55" y="214"/>
                  <a:pt x="55" y="214"/>
                </a:cubicBezTo>
                <a:cubicBezTo>
                  <a:pt x="45" y="196"/>
                  <a:pt x="39" y="176"/>
                  <a:pt x="39" y="156"/>
                </a:cubicBezTo>
                <a:cubicBezTo>
                  <a:pt x="39" y="92"/>
                  <a:pt x="91" y="40"/>
                  <a:pt x="156" y="40"/>
                </a:cubicBezTo>
                <a:cubicBezTo>
                  <a:pt x="176" y="40"/>
                  <a:pt x="196" y="45"/>
                  <a:pt x="213" y="55"/>
                </a:cubicBezTo>
                <a:cubicBezTo>
                  <a:pt x="226" y="62"/>
                  <a:pt x="226" y="62"/>
                  <a:pt x="226" y="62"/>
                </a:cubicBezTo>
                <a:cubicBezTo>
                  <a:pt x="240" y="60"/>
                  <a:pt x="240" y="60"/>
                  <a:pt x="240" y="60"/>
                </a:cubicBezTo>
                <a:cubicBezTo>
                  <a:pt x="252" y="58"/>
                  <a:pt x="265" y="56"/>
                  <a:pt x="278" y="56"/>
                </a:cubicBezTo>
                <a:cubicBezTo>
                  <a:pt x="401" y="56"/>
                  <a:pt x="501" y="156"/>
                  <a:pt x="501" y="279"/>
                </a:cubicBezTo>
                <a:cubicBezTo>
                  <a:pt x="501" y="292"/>
                  <a:pt x="500" y="305"/>
                  <a:pt x="498" y="318"/>
                </a:cubicBezTo>
                <a:cubicBezTo>
                  <a:pt x="495" y="332"/>
                  <a:pt x="495" y="332"/>
                  <a:pt x="495" y="332"/>
                </a:cubicBezTo>
                <a:cubicBezTo>
                  <a:pt x="502" y="344"/>
                  <a:pt x="502" y="344"/>
                  <a:pt x="502" y="344"/>
                </a:cubicBezTo>
                <a:cubicBezTo>
                  <a:pt x="512" y="362"/>
                  <a:pt x="517" y="382"/>
                  <a:pt x="517" y="402"/>
                </a:cubicBezTo>
                <a:cubicBezTo>
                  <a:pt x="517" y="466"/>
                  <a:pt x="465" y="518"/>
                  <a:pt x="401" y="518"/>
                </a:cubicBezTo>
                <a:close/>
                <a:moveTo>
                  <a:pt x="326" y="254"/>
                </a:moveTo>
                <a:cubicBezTo>
                  <a:pt x="267" y="241"/>
                  <a:pt x="267" y="241"/>
                  <a:pt x="267" y="241"/>
                </a:cubicBezTo>
                <a:cubicBezTo>
                  <a:pt x="245" y="235"/>
                  <a:pt x="219" y="228"/>
                  <a:pt x="219" y="207"/>
                </a:cubicBezTo>
                <a:cubicBezTo>
                  <a:pt x="219" y="186"/>
                  <a:pt x="237" y="170"/>
                  <a:pt x="269" y="170"/>
                </a:cubicBezTo>
                <a:cubicBezTo>
                  <a:pt x="335" y="170"/>
                  <a:pt x="330" y="216"/>
                  <a:pt x="362" y="216"/>
                </a:cubicBezTo>
                <a:cubicBezTo>
                  <a:pt x="380" y="216"/>
                  <a:pt x="394" y="207"/>
                  <a:pt x="394" y="189"/>
                </a:cubicBezTo>
                <a:cubicBezTo>
                  <a:pt x="394" y="148"/>
                  <a:pt x="329" y="118"/>
                  <a:pt x="274" y="118"/>
                </a:cubicBezTo>
                <a:cubicBezTo>
                  <a:pt x="214" y="118"/>
                  <a:pt x="151" y="143"/>
                  <a:pt x="151" y="211"/>
                </a:cubicBezTo>
                <a:cubicBezTo>
                  <a:pt x="151" y="244"/>
                  <a:pt x="163" y="279"/>
                  <a:pt x="227" y="295"/>
                </a:cubicBezTo>
                <a:cubicBezTo>
                  <a:pt x="306" y="315"/>
                  <a:pt x="306" y="315"/>
                  <a:pt x="306" y="315"/>
                </a:cubicBezTo>
                <a:cubicBezTo>
                  <a:pt x="330" y="321"/>
                  <a:pt x="337" y="335"/>
                  <a:pt x="337" y="347"/>
                </a:cubicBezTo>
                <a:cubicBezTo>
                  <a:pt x="337" y="368"/>
                  <a:pt x="316" y="390"/>
                  <a:pt x="279" y="390"/>
                </a:cubicBezTo>
                <a:cubicBezTo>
                  <a:pt x="208" y="390"/>
                  <a:pt x="218" y="333"/>
                  <a:pt x="180" y="333"/>
                </a:cubicBezTo>
                <a:cubicBezTo>
                  <a:pt x="163" y="333"/>
                  <a:pt x="149" y="344"/>
                  <a:pt x="149" y="361"/>
                </a:cubicBezTo>
                <a:cubicBezTo>
                  <a:pt x="149" y="395"/>
                  <a:pt x="190" y="440"/>
                  <a:pt x="279" y="440"/>
                </a:cubicBezTo>
                <a:cubicBezTo>
                  <a:pt x="365" y="440"/>
                  <a:pt x="408" y="397"/>
                  <a:pt x="408" y="342"/>
                </a:cubicBezTo>
                <a:cubicBezTo>
                  <a:pt x="408" y="306"/>
                  <a:pt x="390" y="268"/>
                  <a:pt x="326" y="254"/>
                </a:cubicBezTo>
                <a:close/>
                <a:moveTo>
                  <a:pt x="746" y="423"/>
                </a:moveTo>
                <a:cubicBezTo>
                  <a:pt x="746" y="380"/>
                  <a:pt x="746" y="380"/>
                  <a:pt x="746" y="380"/>
                </a:cubicBezTo>
                <a:cubicBezTo>
                  <a:pt x="751" y="384"/>
                  <a:pt x="757" y="388"/>
                  <a:pt x="764" y="391"/>
                </a:cubicBezTo>
                <a:cubicBezTo>
                  <a:pt x="771" y="395"/>
                  <a:pt x="778" y="398"/>
                  <a:pt x="786" y="400"/>
                </a:cubicBezTo>
                <a:cubicBezTo>
                  <a:pt x="793" y="402"/>
                  <a:pt x="801" y="404"/>
                  <a:pt x="808" y="406"/>
                </a:cubicBezTo>
                <a:cubicBezTo>
                  <a:pt x="816" y="407"/>
                  <a:pt x="823" y="408"/>
                  <a:pt x="830" y="408"/>
                </a:cubicBezTo>
                <a:cubicBezTo>
                  <a:pt x="852" y="408"/>
                  <a:pt x="869" y="403"/>
                  <a:pt x="880" y="395"/>
                </a:cubicBezTo>
                <a:cubicBezTo>
                  <a:pt x="891" y="387"/>
                  <a:pt x="897" y="375"/>
                  <a:pt x="897" y="359"/>
                </a:cubicBezTo>
                <a:cubicBezTo>
                  <a:pt x="897" y="351"/>
                  <a:pt x="895" y="343"/>
                  <a:pt x="891" y="337"/>
                </a:cubicBezTo>
                <a:cubicBezTo>
                  <a:pt x="887" y="331"/>
                  <a:pt x="882" y="325"/>
                  <a:pt x="876" y="320"/>
                </a:cubicBezTo>
                <a:cubicBezTo>
                  <a:pt x="869" y="315"/>
                  <a:pt x="862" y="310"/>
                  <a:pt x="853" y="305"/>
                </a:cubicBezTo>
                <a:cubicBezTo>
                  <a:pt x="844" y="301"/>
                  <a:pt x="834" y="296"/>
                  <a:pt x="824" y="290"/>
                </a:cubicBezTo>
                <a:cubicBezTo>
                  <a:pt x="813" y="285"/>
                  <a:pt x="803" y="279"/>
                  <a:pt x="793" y="274"/>
                </a:cubicBezTo>
                <a:cubicBezTo>
                  <a:pt x="784" y="268"/>
                  <a:pt x="776" y="262"/>
                  <a:pt x="769" y="255"/>
                </a:cubicBezTo>
                <a:cubicBezTo>
                  <a:pt x="762" y="248"/>
                  <a:pt x="756" y="240"/>
                  <a:pt x="752" y="232"/>
                </a:cubicBezTo>
                <a:cubicBezTo>
                  <a:pt x="748" y="223"/>
                  <a:pt x="746" y="213"/>
                  <a:pt x="746" y="201"/>
                </a:cubicBezTo>
                <a:cubicBezTo>
                  <a:pt x="746" y="187"/>
                  <a:pt x="750" y="175"/>
                  <a:pt x="756" y="164"/>
                </a:cubicBezTo>
                <a:cubicBezTo>
                  <a:pt x="762" y="154"/>
                  <a:pt x="770" y="145"/>
                  <a:pt x="780" y="138"/>
                </a:cubicBezTo>
                <a:cubicBezTo>
                  <a:pt x="791" y="132"/>
                  <a:pt x="802" y="127"/>
                  <a:pt x="815" y="123"/>
                </a:cubicBezTo>
                <a:cubicBezTo>
                  <a:pt x="828" y="120"/>
                  <a:pt x="841" y="118"/>
                  <a:pt x="855" y="118"/>
                </a:cubicBezTo>
                <a:cubicBezTo>
                  <a:pt x="885" y="118"/>
                  <a:pt x="908" y="122"/>
                  <a:pt x="922" y="129"/>
                </a:cubicBezTo>
                <a:cubicBezTo>
                  <a:pt x="922" y="170"/>
                  <a:pt x="922" y="170"/>
                  <a:pt x="922" y="170"/>
                </a:cubicBezTo>
                <a:cubicBezTo>
                  <a:pt x="904" y="158"/>
                  <a:pt x="880" y="151"/>
                  <a:pt x="851" y="151"/>
                </a:cubicBezTo>
                <a:cubicBezTo>
                  <a:pt x="843" y="151"/>
                  <a:pt x="835" y="152"/>
                  <a:pt x="827" y="154"/>
                </a:cubicBezTo>
                <a:cubicBezTo>
                  <a:pt x="819" y="155"/>
                  <a:pt x="812" y="158"/>
                  <a:pt x="806" y="162"/>
                </a:cubicBezTo>
                <a:cubicBezTo>
                  <a:pt x="800" y="166"/>
                  <a:pt x="795" y="171"/>
                  <a:pt x="791" y="176"/>
                </a:cubicBezTo>
                <a:cubicBezTo>
                  <a:pt x="787" y="182"/>
                  <a:pt x="785" y="190"/>
                  <a:pt x="785" y="198"/>
                </a:cubicBezTo>
                <a:cubicBezTo>
                  <a:pt x="785" y="206"/>
                  <a:pt x="786" y="213"/>
                  <a:pt x="789" y="219"/>
                </a:cubicBezTo>
                <a:cubicBezTo>
                  <a:pt x="792" y="225"/>
                  <a:pt x="797" y="230"/>
                  <a:pt x="802" y="235"/>
                </a:cubicBezTo>
                <a:cubicBezTo>
                  <a:pt x="808" y="240"/>
                  <a:pt x="815" y="244"/>
                  <a:pt x="824" y="249"/>
                </a:cubicBezTo>
                <a:cubicBezTo>
                  <a:pt x="832" y="253"/>
                  <a:pt x="841" y="258"/>
                  <a:pt x="852" y="263"/>
                </a:cubicBezTo>
                <a:cubicBezTo>
                  <a:pt x="864" y="269"/>
                  <a:pt x="874" y="275"/>
                  <a:pt x="884" y="281"/>
                </a:cubicBezTo>
                <a:cubicBezTo>
                  <a:pt x="894" y="287"/>
                  <a:pt x="903" y="294"/>
                  <a:pt x="910" y="301"/>
                </a:cubicBezTo>
                <a:cubicBezTo>
                  <a:pt x="918" y="308"/>
                  <a:pt x="924" y="317"/>
                  <a:pt x="928" y="326"/>
                </a:cubicBezTo>
                <a:cubicBezTo>
                  <a:pt x="933" y="335"/>
                  <a:pt x="935" y="345"/>
                  <a:pt x="935" y="356"/>
                </a:cubicBezTo>
                <a:cubicBezTo>
                  <a:pt x="935" y="372"/>
                  <a:pt x="932" y="385"/>
                  <a:pt x="926" y="396"/>
                </a:cubicBezTo>
                <a:cubicBezTo>
                  <a:pt x="920" y="406"/>
                  <a:pt x="912" y="415"/>
                  <a:pt x="902" y="421"/>
                </a:cubicBezTo>
                <a:cubicBezTo>
                  <a:pt x="891" y="428"/>
                  <a:pt x="880" y="433"/>
                  <a:pt x="866" y="436"/>
                </a:cubicBezTo>
                <a:cubicBezTo>
                  <a:pt x="853" y="439"/>
                  <a:pt x="839" y="440"/>
                  <a:pt x="824" y="440"/>
                </a:cubicBezTo>
                <a:cubicBezTo>
                  <a:pt x="819" y="440"/>
                  <a:pt x="813" y="440"/>
                  <a:pt x="806" y="439"/>
                </a:cubicBezTo>
                <a:cubicBezTo>
                  <a:pt x="799" y="438"/>
                  <a:pt x="791" y="437"/>
                  <a:pt x="784" y="436"/>
                </a:cubicBezTo>
                <a:cubicBezTo>
                  <a:pt x="776" y="434"/>
                  <a:pt x="769" y="432"/>
                  <a:pt x="762" y="430"/>
                </a:cubicBezTo>
                <a:cubicBezTo>
                  <a:pt x="756" y="428"/>
                  <a:pt x="750" y="425"/>
                  <a:pt x="746" y="423"/>
                </a:cubicBezTo>
                <a:close/>
                <a:moveTo>
                  <a:pt x="1147" y="435"/>
                </a:moveTo>
                <a:cubicBezTo>
                  <a:pt x="1097" y="435"/>
                  <a:pt x="1097" y="435"/>
                  <a:pt x="1097" y="435"/>
                </a:cubicBezTo>
                <a:cubicBezTo>
                  <a:pt x="999" y="328"/>
                  <a:pt x="999" y="328"/>
                  <a:pt x="999" y="328"/>
                </a:cubicBezTo>
                <a:cubicBezTo>
                  <a:pt x="998" y="328"/>
                  <a:pt x="998" y="328"/>
                  <a:pt x="998" y="328"/>
                </a:cubicBezTo>
                <a:cubicBezTo>
                  <a:pt x="998" y="435"/>
                  <a:pt x="998" y="435"/>
                  <a:pt x="998" y="435"/>
                </a:cubicBezTo>
                <a:cubicBezTo>
                  <a:pt x="962" y="435"/>
                  <a:pt x="962" y="435"/>
                  <a:pt x="962" y="435"/>
                </a:cubicBezTo>
                <a:cubicBezTo>
                  <a:pt x="962" y="106"/>
                  <a:pt x="962" y="106"/>
                  <a:pt x="962" y="106"/>
                </a:cubicBezTo>
                <a:cubicBezTo>
                  <a:pt x="998" y="106"/>
                  <a:pt x="998" y="106"/>
                  <a:pt x="998" y="106"/>
                </a:cubicBezTo>
                <a:cubicBezTo>
                  <a:pt x="998" y="315"/>
                  <a:pt x="998" y="315"/>
                  <a:pt x="998" y="315"/>
                </a:cubicBezTo>
                <a:cubicBezTo>
                  <a:pt x="999" y="315"/>
                  <a:pt x="999" y="315"/>
                  <a:pt x="999" y="315"/>
                </a:cubicBezTo>
                <a:cubicBezTo>
                  <a:pt x="1092" y="213"/>
                  <a:pt x="1092" y="213"/>
                  <a:pt x="1092" y="213"/>
                </a:cubicBezTo>
                <a:cubicBezTo>
                  <a:pt x="1139" y="213"/>
                  <a:pt x="1139" y="213"/>
                  <a:pt x="1139" y="213"/>
                </a:cubicBezTo>
                <a:cubicBezTo>
                  <a:pt x="1036" y="320"/>
                  <a:pt x="1036" y="320"/>
                  <a:pt x="1036" y="320"/>
                </a:cubicBezTo>
                <a:lnTo>
                  <a:pt x="1147" y="435"/>
                </a:lnTo>
                <a:close/>
                <a:moveTo>
                  <a:pt x="1366" y="213"/>
                </a:moveTo>
                <a:cubicBezTo>
                  <a:pt x="1263" y="471"/>
                  <a:pt x="1263" y="471"/>
                  <a:pt x="1263" y="471"/>
                </a:cubicBezTo>
                <a:cubicBezTo>
                  <a:pt x="1245" y="517"/>
                  <a:pt x="1219" y="540"/>
                  <a:pt x="1186" y="540"/>
                </a:cubicBezTo>
                <a:cubicBezTo>
                  <a:pt x="1177" y="540"/>
                  <a:pt x="1169" y="539"/>
                  <a:pt x="1163" y="537"/>
                </a:cubicBezTo>
                <a:cubicBezTo>
                  <a:pt x="1163" y="505"/>
                  <a:pt x="1163" y="505"/>
                  <a:pt x="1163" y="505"/>
                </a:cubicBezTo>
                <a:cubicBezTo>
                  <a:pt x="1171" y="508"/>
                  <a:pt x="1178" y="509"/>
                  <a:pt x="1184" y="509"/>
                </a:cubicBezTo>
                <a:cubicBezTo>
                  <a:pt x="1202" y="509"/>
                  <a:pt x="1215" y="498"/>
                  <a:pt x="1224" y="477"/>
                </a:cubicBezTo>
                <a:cubicBezTo>
                  <a:pt x="1242" y="435"/>
                  <a:pt x="1242" y="435"/>
                  <a:pt x="1242" y="435"/>
                </a:cubicBezTo>
                <a:cubicBezTo>
                  <a:pt x="1155" y="213"/>
                  <a:pt x="1155" y="213"/>
                  <a:pt x="1155" y="213"/>
                </a:cubicBezTo>
                <a:cubicBezTo>
                  <a:pt x="1195" y="213"/>
                  <a:pt x="1195" y="213"/>
                  <a:pt x="1195" y="213"/>
                </a:cubicBezTo>
                <a:cubicBezTo>
                  <a:pt x="1255" y="384"/>
                  <a:pt x="1255" y="384"/>
                  <a:pt x="1255" y="384"/>
                </a:cubicBezTo>
                <a:cubicBezTo>
                  <a:pt x="1256" y="386"/>
                  <a:pt x="1257" y="392"/>
                  <a:pt x="1260" y="401"/>
                </a:cubicBezTo>
                <a:cubicBezTo>
                  <a:pt x="1261" y="401"/>
                  <a:pt x="1261" y="401"/>
                  <a:pt x="1261" y="401"/>
                </a:cubicBezTo>
                <a:cubicBezTo>
                  <a:pt x="1262" y="397"/>
                  <a:pt x="1263" y="392"/>
                  <a:pt x="1265" y="384"/>
                </a:cubicBezTo>
                <a:cubicBezTo>
                  <a:pt x="1329" y="213"/>
                  <a:pt x="1329" y="213"/>
                  <a:pt x="1329" y="213"/>
                </a:cubicBezTo>
                <a:lnTo>
                  <a:pt x="1366" y="213"/>
                </a:lnTo>
                <a:close/>
                <a:moveTo>
                  <a:pt x="1420" y="403"/>
                </a:moveTo>
                <a:cubicBezTo>
                  <a:pt x="1419" y="403"/>
                  <a:pt x="1419" y="403"/>
                  <a:pt x="1419" y="403"/>
                </a:cubicBezTo>
                <a:cubicBezTo>
                  <a:pt x="1419" y="538"/>
                  <a:pt x="1419" y="538"/>
                  <a:pt x="1419" y="538"/>
                </a:cubicBezTo>
                <a:cubicBezTo>
                  <a:pt x="1384" y="538"/>
                  <a:pt x="1384" y="538"/>
                  <a:pt x="1384" y="538"/>
                </a:cubicBezTo>
                <a:cubicBezTo>
                  <a:pt x="1384" y="213"/>
                  <a:pt x="1384" y="213"/>
                  <a:pt x="1384" y="213"/>
                </a:cubicBezTo>
                <a:cubicBezTo>
                  <a:pt x="1419" y="213"/>
                  <a:pt x="1419" y="213"/>
                  <a:pt x="1419" y="213"/>
                </a:cubicBezTo>
                <a:cubicBezTo>
                  <a:pt x="1419" y="252"/>
                  <a:pt x="1419" y="252"/>
                  <a:pt x="1419" y="252"/>
                </a:cubicBezTo>
                <a:cubicBezTo>
                  <a:pt x="1420" y="252"/>
                  <a:pt x="1420" y="252"/>
                  <a:pt x="1420" y="252"/>
                </a:cubicBezTo>
                <a:cubicBezTo>
                  <a:pt x="1438" y="222"/>
                  <a:pt x="1463" y="207"/>
                  <a:pt x="1497" y="207"/>
                </a:cubicBezTo>
                <a:cubicBezTo>
                  <a:pt x="1526" y="207"/>
                  <a:pt x="1548" y="217"/>
                  <a:pt x="1564" y="237"/>
                </a:cubicBezTo>
                <a:cubicBezTo>
                  <a:pt x="1581" y="257"/>
                  <a:pt x="1589" y="284"/>
                  <a:pt x="1589" y="317"/>
                </a:cubicBezTo>
                <a:cubicBezTo>
                  <a:pt x="1589" y="355"/>
                  <a:pt x="1580" y="384"/>
                  <a:pt x="1561" y="407"/>
                </a:cubicBezTo>
                <a:cubicBezTo>
                  <a:pt x="1543" y="429"/>
                  <a:pt x="1518" y="440"/>
                  <a:pt x="1487" y="440"/>
                </a:cubicBezTo>
                <a:cubicBezTo>
                  <a:pt x="1458" y="440"/>
                  <a:pt x="1436" y="428"/>
                  <a:pt x="1420" y="403"/>
                </a:cubicBezTo>
                <a:close/>
                <a:moveTo>
                  <a:pt x="1419" y="313"/>
                </a:moveTo>
                <a:cubicBezTo>
                  <a:pt x="1419" y="344"/>
                  <a:pt x="1419" y="344"/>
                  <a:pt x="1419" y="344"/>
                </a:cubicBezTo>
                <a:cubicBezTo>
                  <a:pt x="1419" y="363"/>
                  <a:pt x="1425" y="378"/>
                  <a:pt x="1437" y="391"/>
                </a:cubicBezTo>
                <a:cubicBezTo>
                  <a:pt x="1449" y="404"/>
                  <a:pt x="1464" y="410"/>
                  <a:pt x="1483" y="410"/>
                </a:cubicBezTo>
                <a:cubicBezTo>
                  <a:pt x="1505" y="410"/>
                  <a:pt x="1521" y="402"/>
                  <a:pt x="1534" y="386"/>
                </a:cubicBezTo>
                <a:cubicBezTo>
                  <a:pt x="1546" y="369"/>
                  <a:pt x="1552" y="346"/>
                  <a:pt x="1552" y="317"/>
                </a:cubicBezTo>
                <a:cubicBezTo>
                  <a:pt x="1552" y="292"/>
                  <a:pt x="1546" y="272"/>
                  <a:pt x="1535" y="258"/>
                </a:cubicBezTo>
                <a:cubicBezTo>
                  <a:pt x="1523" y="244"/>
                  <a:pt x="1508" y="237"/>
                  <a:pt x="1488" y="237"/>
                </a:cubicBezTo>
                <a:cubicBezTo>
                  <a:pt x="1468" y="237"/>
                  <a:pt x="1451" y="245"/>
                  <a:pt x="1438" y="259"/>
                </a:cubicBezTo>
                <a:cubicBezTo>
                  <a:pt x="1426" y="273"/>
                  <a:pt x="1419" y="291"/>
                  <a:pt x="1419" y="313"/>
                </a:cubicBezTo>
                <a:close/>
                <a:moveTo>
                  <a:pt x="1804" y="333"/>
                </a:moveTo>
                <a:cubicBezTo>
                  <a:pt x="1647" y="333"/>
                  <a:pt x="1647" y="333"/>
                  <a:pt x="1647" y="333"/>
                </a:cubicBezTo>
                <a:cubicBezTo>
                  <a:pt x="1648" y="358"/>
                  <a:pt x="1654" y="377"/>
                  <a:pt x="1667" y="390"/>
                </a:cubicBezTo>
                <a:cubicBezTo>
                  <a:pt x="1680" y="404"/>
                  <a:pt x="1698" y="410"/>
                  <a:pt x="1720" y="410"/>
                </a:cubicBezTo>
                <a:cubicBezTo>
                  <a:pt x="1745" y="410"/>
                  <a:pt x="1768" y="402"/>
                  <a:pt x="1789" y="386"/>
                </a:cubicBezTo>
                <a:cubicBezTo>
                  <a:pt x="1789" y="419"/>
                  <a:pt x="1789" y="419"/>
                  <a:pt x="1789" y="419"/>
                </a:cubicBezTo>
                <a:cubicBezTo>
                  <a:pt x="1769" y="433"/>
                  <a:pt x="1744" y="440"/>
                  <a:pt x="1711" y="440"/>
                </a:cubicBezTo>
                <a:cubicBezTo>
                  <a:pt x="1680" y="440"/>
                  <a:pt x="1655" y="430"/>
                  <a:pt x="1637" y="410"/>
                </a:cubicBezTo>
                <a:cubicBezTo>
                  <a:pt x="1619" y="390"/>
                  <a:pt x="1610" y="361"/>
                  <a:pt x="1610" y="325"/>
                </a:cubicBezTo>
                <a:cubicBezTo>
                  <a:pt x="1610" y="290"/>
                  <a:pt x="1620" y="262"/>
                  <a:pt x="1640" y="240"/>
                </a:cubicBezTo>
                <a:cubicBezTo>
                  <a:pt x="1659" y="218"/>
                  <a:pt x="1684" y="207"/>
                  <a:pt x="1713" y="207"/>
                </a:cubicBezTo>
                <a:cubicBezTo>
                  <a:pt x="1742" y="207"/>
                  <a:pt x="1765" y="217"/>
                  <a:pt x="1781" y="236"/>
                </a:cubicBezTo>
                <a:cubicBezTo>
                  <a:pt x="1796" y="254"/>
                  <a:pt x="1804" y="281"/>
                  <a:pt x="1804" y="314"/>
                </a:cubicBezTo>
                <a:lnTo>
                  <a:pt x="1804" y="333"/>
                </a:lnTo>
                <a:close/>
                <a:moveTo>
                  <a:pt x="1768" y="303"/>
                </a:moveTo>
                <a:cubicBezTo>
                  <a:pt x="1768" y="282"/>
                  <a:pt x="1763" y="266"/>
                  <a:pt x="1753" y="255"/>
                </a:cubicBezTo>
                <a:cubicBezTo>
                  <a:pt x="1743" y="243"/>
                  <a:pt x="1730" y="237"/>
                  <a:pt x="1712" y="237"/>
                </a:cubicBezTo>
                <a:cubicBezTo>
                  <a:pt x="1695" y="237"/>
                  <a:pt x="1681" y="243"/>
                  <a:pt x="1669" y="255"/>
                </a:cubicBezTo>
                <a:cubicBezTo>
                  <a:pt x="1658" y="267"/>
                  <a:pt x="1650" y="283"/>
                  <a:pt x="1648" y="303"/>
                </a:cubicBezTo>
                <a:lnTo>
                  <a:pt x="1768" y="303"/>
                </a:lnTo>
                <a:close/>
                <a:moveTo>
                  <a:pt x="2069" y="137"/>
                </a:moveTo>
                <a:cubicBezTo>
                  <a:pt x="2062" y="133"/>
                  <a:pt x="2054" y="131"/>
                  <a:pt x="2046" y="131"/>
                </a:cubicBezTo>
                <a:cubicBezTo>
                  <a:pt x="2021" y="131"/>
                  <a:pt x="2008" y="147"/>
                  <a:pt x="2008" y="178"/>
                </a:cubicBezTo>
                <a:cubicBezTo>
                  <a:pt x="2008" y="213"/>
                  <a:pt x="2008" y="213"/>
                  <a:pt x="2008" y="213"/>
                </a:cubicBezTo>
                <a:cubicBezTo>
                  <a:pt x="2060" y="213"/>
                  <a:pt x="2060" y="213"/>
                  <a:pt x="2060" y="213"/>
                </a:cubicBezTo>
                <a:cubicBezTo>
                  <a:pt x="2060" y="243"/>
                  <a:pt x="2060" y="243"/>
                  <a:pt x="2060" y="243"/>
                </a:cubicBezTo>
                <a:cubicBezTo>
                  <a:pt x="2008" y="243"/>
                  <a:pt x="2008" y="243"/>
                  <a:pt x="2008" y="243"/>
                </a:cubicBezTo>
                <a:cubicBezTo>
                  <a:pt x="2008" y="435"/>
                  <a:pt x="2008" y="435"/>
                  <a:pt x="2008" y="435"/>
                </a:cubicBezTo>
                <a:cubicBezTo>
                  <a:pt x="1973" y="435"/>
                  <a:pt x="1973" y="435"/>
                  <a:pt x="1973" y="435"/>
                </a:cubicBezTo>
                <a:cubicBezTo>
                  <a:pt x="1973" y="243"/>
                  <a:pt x="1973" y="243"/>
                  <a:pt x="1973" y="243"/>
                </a:cubicBezTo>
                <a:cubicBezTo>
                  <a:pt x="1935" y="243"/>
                  <a:pt x="1935" y="243"/>
                  <a:pt x="1935" y="243"/>
                </a:cubicBezTo>
                <a:cubicBezTo>
                  <a:pt x="1935" y="213"/>
                  <a:pt x="1935" y="213"/>
                  <a:pt x="1935" y="213"/>
                </a:cubicBezTo>
                <a:cubicBezTo>
                  <a:pt x="1973" y="213"/>
                  <a:pt x="1973" y="213"/>
                  <a:pt x="1973" y="213"/>
                </a:cubicBezTo>
                <a:cubicBezTo>
                  <a:pt x="1973" y="176"/>
                  <a:pt x="1973" y="176"/>
                  <a:pt x="1973" y="176"/>
                </a:cubicBezTo>
                <a:cubicBezTo>
                  <a:pt x="1973" y="153"/>
                  <a:pt x="1980" y="135"/>
                  <a:pt x="1993" y="121"/>
                </a:cubicBezTo>
                <a:cubicBezTo>
                  <a:pt x="2006" y="108"/>
                  <a:pt x="2023" y="101"/>
                  <a:pt x="2043" y="101"/>
                </a:cubicBezTo>
                <a:cubicBezTo>
                  <a:pt x="2054" y="101"/>
                  <a:pt x="2063" y="102"/>
                  <a:pt x="2069" y="105"/>
                </a:cubicBezTo>
                <a:lnTo>
                  <a:pt x="2069" y="137"/>
                </a:lnTo>
                <a:close/>
                <a:moveTo>
                  <a:pt x="2176" y="440"/>
                </a:moveTo>
                <a:cubicBezTo>
                  <a:pt x="2143" y="440"/>
                  <a:pt x="2117" y="430"/>
                  <a:pt x="2097" y="409"/>
                </a:cubicBezTo>
                <a:cubicBezTo>
                  <a:pt x="2077" y="388"/>
                  <a:pt x="2067" y="361"/>
                  <a:pt x="2067" y="326"/>
                </a:cubicBezTo>
                <a:cubicBezTo>
                  <a:pt x="2067" y="289"/>
                  <a:pt x="2078" y="260"/>
                  <a:pt x="2098" y="239"/>
                </a:cubicBezTo>
                <a:cubicBezTo>
                  <a:pt x="2118" y="218"/>
                  <a:pt x="2146" y="207"/>
                  <a:pt x="2181" y="207"/>
                </a:cubicBezTo>
                <a:cubicBezTo>
                  <a:pt x="2214" y="207"/>
                  <a:pt x="2240" y="218"/>
                  <a:pt x="2259" y="238"/>
                </a:cubicBezTo>
                <a:cubicBezTo>
                  <a:pt x="2277" y="258"/>
                  <a:pt x="2287" y="287"/>
                  <a:pt x="2287" y="323"/>
                </a:cubicBezTo>
                <a:cubicBezTo>
                  <a:pt x="2287" y="359"/>
                  <a:pt x="2277" y="387"/>
                  <a:pt x="2256" y="408"/>
                </a:cubicBezTo>
                <a:cubicBezTo>
                  <a:pt x="2236" y="430"/>
                  <a:pt x="2209" y="440"/>
                  <a:pt x="2176" y="440"/>
                </a:cubicBezTo>
                <a:close/>
                <a:moveTo>
                  <a:pt x="2178" y="237"/>
                </a:moveTo>
                <a:cubicBezTo>
                  <a:pt x="2155" y="237"/>
                  <a:pt x="2137" y="245"/>
                  <a:pt x="2124" y="261"/>
                </a:cubicBezTo>
                <a:cubicBezTo>
                  <a:pt x="2111" y="276"/>
                  <a:pt x="2104" y="298"/>
                  <a:pt x="2104" y="325"/>
                </a:cubicBezTo>
                <a:cubicBezTo>
                  <a:pt x="2104" y="352"/>
                  <a:pt x="2111" y="372"/>
                  <a:pt x="2124" y="388"/>
                </a:cubicBezTo>
                <a:cubicBezTo>
                  <a:pt x="2138" y="403"/>
                  <a:pt x="2156" y="410"/>
                  <a:pt x="2178" y="410"/>
                </a:cubicBezTo>
                <a:cubicBezTo>
                  <a:pt x="2201" y="410"/>
                  <a:pt x="2219" y="403"/>
                  <a:pt x="2231" y="388"/>
                </a:cubicBezTo>
                <a:cubicBezTo>
                  <a:pt x="2244" y="373"/>
                  <a:pt x="2250" y="352"/>
                  <a:pt x="2250" y="324"/>
                </a:cubicBezTo>
                <a:cubicBezTo>
                  <a:pt x="2250" y="296"/>
                  <a:pt x="2244" y="275"/>
                  <a:pt x="2231" y="260"/>
                </a:cubicBezTo>
                <a:cubicBezTo>
                  <a:pt x="2219" y="245"/>
                  <a:pt x="2201" y="237"/>
                  <a:pt x="2178" y="237"/>
                </a:cubicBezTo>
                <a:close/>
                <a:moveTo>
                  <a:pt x="2433" y="249"/>
                </a:moveTo>
                <a:cubicBezTo>
                  <a:pt x="2427" y="244"/>
                  <a:pt x="2418" y="241"/>
                  <a:pt x="2406" y="241"/>
                </a:cubicBezTo>
                <a:cubicBezTo>
                  <a:pt x="2391" y="241"/>
                  <a:pt x="2379" y="249"/>
                  <a:pt x="2368" y="263"/>
                </a:cubicBezTo>
                <a:cubicBezTo>
                  <a:pt x="2358" y="277"/>
                  <a:pt x="2353" y="297"/>
                  <a:pt x="2353" y="322"/>
                </a:cubicBezTo>
                <a:cubicBezTo>
                  <a:pt x="2353" y="435"/>
                  <a:pt x="2353" y="435"/>
                  <a:pt x="2353" y="435"/>
                </a:cubicBezTo>
                <a:cubicBezTo>
                  <a:pt x="2317" y="435"/>
                  <a:pt x="2317" y="435"/>
                  <a:pt x="2317" y="435"/>
                </a:cubicBezTo>
                <a:cubicBezTo>
                  <a:pt x="2317" y="213"/>
                  <a:pt x="2317" y="213"/>
                  <a:pt x="2317" y="213"/>
                </a:cubicBezTo>
                <a:cubicBezTo>
                  <a:pt x="2353" y="213"/>
                  <a:pt x="2353" y="213"/>
                  <a:pt x="2353" y="213"/>
                </a:cubicBezTo>
                <a:cubicBezTo>
                  <a:pt x="2353" y="258"/>
                  <a:pt x="2353" y="258"/>
                  <a:pt x="2353" y="258"/>
                </a:cubicBezTo>
                <a:cubicBezTo>
                  <a:pt x="2354" y="258"/>
                  <a:pt x="2354" y="258"/>
                  <a:pt x="2354" y="258"/>
                </a:cubicBezTo>
                <a:cubicBezTo>
                  <a:pt x="2359" y="243"/>
                  <a:pt x="2367" y="231"/>
                  <a:pt x="2377" y="222"/>
                </a:cubicBezTo>
                <a:cubicBezTo>
                  <a:pt x="2388" y="213"/>
                  <a:pt x="2399" y="209"/>
                  <a:pt x="2412" y="209"/>
                </a:cubicBezTo>
                <a:cubicBezTo>
                  <a:pt x="2421" y="209"/>
                  <a:pt x="2429" y="210"/>
                  <a:pt x="2433" y="212"/>
                </a:cubicBezTo>
                <a:lnTo>
                  <a:pt x="2433" y="249"/>
                </a:lnTo>
                <a:close/>
                <a:moveTo>
                  <a:pt x="2562" y="435"/>
                </a:moveTo>
                <a:cubicBezTo>
                  <a:pt x="2562" y="123"/>
                  <a:pt x="2562" y="123"/>
                  <a:pt x="2562" y="123"/>
                </a:cubicBezTo>
                <a:cubicBezTo>
                  <a:pt x="2651" y="123"/>
                  <a:pt x="2651" y="123"/>
                  <a:pt x="2651" y="123"/>
                </a:cubicBezTo>
                <a:cubicBezTo>
                  <a:pt x="2678" y="123"/>
                  <a:pt x="2699" y="130"/>
                  <a:pt x="2715" y="143"/>
                </a:cubicBezTo>
                <a:cubicBezTo>
                  <a:pt x="2731" y="156"/>
                  <a:pt x="2739" y="174"/>
                  <a:pt x="2739" y="195"/>
                </a:cubicBezTo>
                <a:cubicBezTo>
                  <a:pt x="2739" y="212"/>
                  <a:pt x="2734" y="228"/>
                  <a:pt x="2725" y="241"/>
                </a:cubicBezTo>
                <a:cubicBezTo>
                  <a:pt x="2715" y="254"/>
                  <a:pt x="2702" y="263"/>
                  <a:pt x="2685" y="269"/>
                </a:cubicBezTo>
                <a:cubicBezTo>
                  <a:pt x="2685" y="270"/>
                  <a:pt x="2685" y="270"/>
                  <a:pt x="2685" y="270"/>
                </a:cubicBezTo>
                <a:cubicBezTo>
                  <a:pt x="2706" y="272"/>
                  <a:pt x="2723" y="280"/>
                  <a:pt x="2735" y="293"/>
                </a:cubicBezTo>
                <a:cubicBezTo>
                  <a:pt x="2748" y="307"/>
                  <a:pt x="2754" y="324"/>
                  <a:pt x="2754" y="346"/>
                </a:cubicBezTo>
                <a:cubicBezTo>
                  <a:pt x="2754" y="372"/>
                  <a:pt x="2745" y="394"/>
                  <a:pt x="2726" y="410"/>
                </a:cubicBezTo>
                <a:cubicBezTo>
                  <a:pt x="2707" y="427"/>
                  <a:pt x="2682" y="435"/>
                  <a:pt x="2653" y="435"/>
                </a:cubicBezTo>
                <a:lnTo>
                  <a:pt x="2562" y="435"/>
                </a:lnTo>
                <a:close/>
                <a:moveTo>
                  <a:pt x="2599" y="156"/>
                </a:moveTo>
                <a:cubicBezTo>
                  <a:pt x="2599" y="257"/>
                  <a:pt x="2599" y="257"/>
                  <a:pt x="2599" y="257"/>
                </a:cubicBezTo>
                <a:cubicBezTo>
                  <a:pt x="2636" y="257"/>
                  <a:pt x="2636" y="257"/>
                  <a:pt x="2636" y="257"/>
                </a:cubicBezTo>
                <a:cubicBezTo>
                  <a:pt x="2656" y="257"/>
                  <a:pt x="2672" y="252"/>
                  <a:pt x="2684" y="243"/>
                </a:cubicBezTo>
                <a:cubicBezTo>
                  <a:pt x="2695" y="233"/>
                  <a:pt x="2701" y="219"/>
                  <a:pt x="2701" y="202"/>
                </a:cubicBezTo>
                <a:cubicBezTo>
                  <a:pt x="2701" y="172"/>
                  <a:pt x="2681" y="156"/>
                  <a:pt x="2641" y="156"/>
                </a:cubicBezTo>
                <a:lnTo>
                  <a:pt x="2599" y="156"/>
                </a:lnTo>
                <a:close/>
                <a:moveTo>
                  <a:pt x="2599" y="290"/>
                </a:moveTo>
                <a:cubicBezTo>
                  <a:pt x="2599" y="402"/>
                  <a:pt x="2599" y="402"/>
                  <a:pt x="2599" y="402"/>
                </a:cubicBezTo>
                <a:cubicBezTo>
                  <a:pt x="2649" y="402"/>
                  <a:pt x="2649" y="402"/>
                  <a:pt x="2649" y="402"/>
                </a:cubicBezTo>
                <a:cubicBezTo>
                  <a:pt x="2670" y="402"/>
                  <a:pt x="2687" y="397"/>
                  <a:pt x="2698" y="387"/>
                </a:cubicBezTo>
                <a:cubicBezTo>
                  <a:pt x="2710" y="377"/>
                  <a:pt x="2716" y="363"/>
                  <a:pt x="2716" y="345"/>
                </a:cubicBezTo>
                <a:cubicBezTo>
                  <a:pt x="2716" y="308"/>
                  <a:pt x="2691" y="290"/>
                  <a:pt x="2641" y="290"/>
                </a:cubicBezTo>
                <a:lnTo>
                  <a:pt x="2599" y="290"/>
                </a:lnTo>
                <a:close/>
                <a:moveTo>
                  <a:pt x="2972" y="435"/>
                </a:moveTo>
                <a:cubicBezTo>
                  <a:pt x="2936" y="435"/>
                  <a:pt x="2936" y="435"/>
                  <a:pt x="2936" y="435"/>
                </a:cubicBezTo>
                <a:cubicBezTo>
                  <a:pt x="2936" y="400"/>
                  <a:pt x="2936" y="400"/>
                  <a:pt x="2936" y="400"/>
                </a:cubicBezTo>
                <a:cubicBezTo>
                  <a:pt x="2935" y="400"/>
                  <a:pt x="2935" y="400"/>
                  <a:pt x="2935" y="400"/>
                </a:cubicBezTo>
                <a:cubicBezTo>
                  <a:pt x="2920" y="427"/>
                  <a:pt x="2897" y="440"/>
                  <a:pt x="2866" y="440"/>
                </a:cubicBezTo>
                <a:cubicBezTo>
                  <a:pt x="2813" y="440"/>
                  <a:pt x="2787" y="409"/>
                  <a:pt x="2787" y="346"/>
                </a:cubicBezTo>
                <a:cubicBezTo>
                  <a:pt x="2787" y="213"/>
                  <a:pt x="2787" y="213"/>
                  <a:pt x="2787" y="213"/>
                </a:cubicBezTo>
                <a:cubicBezTo>
                  <a:pt x="2822" y="213"/>
                  <a:pt x="2822" y="213"/>
                  <a:pt x="2822" y="213"/>
                </a:cubicBezTo>
                <a:cubicBezTo>
                  <a:pt x="2822" y="340"/>
                  <a:pt x="2822" y="340"/>
                  <a:pt x="2822" y="340"/>
                </a:cubicBezTo>
                <a:cubicBezTo>
                  <a:pt x="2822" y="387"/>
                  <a:pt x="2840" y="410"/>
                  <a:pt x="2876" y="410"/>
                </a:cubicBezTo>
                <a:cubicBezTo>
                  <a:pt x="2893" y="410"/>
                  <a:pt x="2908" y="404"/>
                  <a:pt x="2919" y="391"/>
                </a:cubicBezTo>
                <a:cubicBezTo>
                  <a:pt x="2930" y="378"/>
                  <a:pt x="2936" y="362"/>
                  <a:pt x="2936" y="341"/>
                </a:cubicBezTo>
                <a:cubicBezTo>
                  <a:pt x="2936" y="213"/>
                  <a:pt x="2936" y="213"/>
                  <a:pt x="2936" y="213"/>
                </a:cubicBezTo>
                <a:cubicBezTo>
                  <a:pt x="2972" y="213"/>
                  <a:pt x="2972" y="213"/>
                  <a:pt x="2972" y="213"/>
                </a:cubicBezTo>
                <a:lnTo>
                  <a:pt x="2972" y="435"/>
                </a:lnTo>
                <a:close/>
                <a:moveTo>
                  <a:pt x="3009" y="427"/>
                </a:moveTo>
                <a:cubicBezTo>
                  <a:pt x="3009" y="389"/>
                  <a:pt x="3009" y="389"/>
                  <a:pt x="3009" y="389"/>
                </a:cubicBezTo>
                <a:cubicBezTo>
                  <a:pt x="3029" y="403"/>
                  <a:pt x="3050" y="410"/>
                  <a:pt x="3073" y="410"/>
                </a:cubicBezTo>
                <a:cubicBezTo>
                  <a:pt x="3105" y="410"/>
                  <a:pt x="3120" y="400"/>
                  <a:pt x="3120" y="379"/>
                </a:cubicBezTo>
                <a:cubicBezTo>
                  <a:pt x="3120" y="373"/>
                  <a:pt x="3119" y="368"/>
                  <a:pt x="3116" y="364"/>
                </a:cubicBezTo>
                <a:cubicBezTo>
                  <a:pt x="3113" y="360"/>
                  <a:pt x="3110" y="356"/>
                  <a:pt x="3105" y="353"/>
                </a:cubicBezTo>
                <a:cubicBezTo>
                  <a:pt x="3101" y="350"/>
                  <a:pt x="3095" y="347"/>
                  <a:pt x="3089" y="344"/>
                </a:cubicBezTo>
                <a:cubicBezTo>
                  <a:pt x="3083" y="342"/>
                  <a:pt x="3076" y="339"/>
                  <a:pt x="3069" y="336"/>
                </a:cubicBezTo>
                <a:cubicBezTo>
                  <a:pt x="3059" y="333"/>
                  <a:pt x="3051" y="329"/>
                  <a:pt x="3043" y="325"/>
                </a:cubicBezTo>
                <a:cubicBezTo>
                  <a:pt x="3036" y="321"/>
                  <a:pt x="3030" y="316"/>
                  <a:pt x="3025" y="311"/>
                </a:cubicBezTo>
                <a:cubicBezTo>
                  <a:pt x="3020" y="306"/>
                  <a:pt x="3016" y="300"/>
                  <a:pt x="3013" y="294"/>
                </a:cubicBezTo>
                <a:cubicBezTo>
                  <a:pt x="3011" y="288"/>
                  <a:pt x="3010" y="280"/>
                  <a:pt x="3010" y="272"/>
                </a:cubicBezTo>
                <a:cubicBezTo>
                  <a:pt x="3010" y="261"/>
                  <a:pt x="3012" y="252"/>
                  <a:pt x="3017" y="244"/>
                </a:cubicBezTo>
                <a:cubicBezTo>
                  <a:pt x="3021" y="236"/>
                  <a:pt x="3028" y="229"/>
                  <a:pt x="3036" y="224"/>
                </a:cubicBezTo>
                <a:cubicBezTo>
                  <a:pt x="3044" y="218"/>
                  <a:pt x="3053" y="214"/>
                  <a:pt x="3063" y="211"/>
                </a:cubicBezTo>
                <a:cubicBezTo>
                  <a:pt x="3073" y="209"/>
                  <a:pt x="3084" y="207"/>
                  <a:pt x="3095" y="207"/>
                </a:cubicBezTo>
                <a:cubicBezTo>
                  <a:pt x="3114" y="207"/>
                  <a:pt x="3131" y="211"/>
                  <a:pt x="3146" y="217"/>
                </a:cubicBezTo>
                <a:cubicBezTo>
                  <a:pt x="3146" y="253"/>
                  <a:pt x="3146" y="253"/>
                  <a:pt x="3146" y="253"/>
                </a:cubicBezTo>
                <a:cubicBezTo>
                  <a:pt x="3130" y="243"/>
                  <a:pt x="3111" y="237"/>
                  <a:pt x="3090" y="237"/>
                </a:cubicBezTo>
                <a:cubicBezTo>
                  <a:pt x="3083" y="237"/>
                  <a:pt x="3077" y="238"/>
                  <a:pt x="3072" y="240"/>
                </a:cubicBezTo>
                <a:cubicBezTo>
                  <a:pt x="3067" y="241"/>
                  <a:pt x="3062" y="243"/>
                  <a:pt x="3058" y="246"/>
                </a:cubicBezTo>
                <a:cubicBezTo>
                  <a:pt x="3054" y="249"/>
                  <a:pt x="3051" y="252"/>
                  <a:pt x="3049" y="256"/>
                </a:cubicBezTo>
                <a:cubicBezTo>
                  <a:pt x="3047" y="260"/>
                  <a:pt x="3046" y="264"/>
                  <a:pt x="3046" y="269"/>
                </a:cubicBezTo>
                <a:cubicBezTo>
                  <a:pt x="3046" y="274"/>
                  <a:pt x="3047" y="279"/>
                  <a:pt x="3049" y="283"/>
                </a:cubicBezTo>
                <a:cubicBezTo>
                  <a:pt x="3051" y="287"/>
                  <a:pt x="3054" y="291"/>
                  <a:pt x="3058" y="294"/>
                </a:cubicBezTo>
                <a:cubicBezTo>
                  <a:pt x="3063" y="297"/>
                  <a:pt x="3067" y="299"/>
                  <a:pt x="3073" y="302"/>
                </a:cubicBezTo>
                <a:cubicBezTo>
                  <a:pt x="3079" y="304"/>
                  <a:pt x="3086" y="307"/>
                  <a:pt x="3093" y="310"/>
                </a:cubicBezTo>
                <a:cubicBezTo>
                  <a:pt x="3103" y="314"/>
                  <a:pt x="3112" y="318"/>
                  <a:pt x="3120" y="322"/>
                </a:cubicBezTo>
                <a:cubicBezTo>
                  <a:pt x="3127" y="326"/>
                  <a:pt x="3134" y="330"/>
                  <a:pt x="3140" y="335"/>
                </a:cubicBezTo>
                <a:cubicBezTo>
                  <a:pt x="3145" y="340"/>
                  <a:pt x="3149" y="346"/>
                  <a:pt x="3152" y="352"/>
                </a:cubicBezTo>
                <a:cubicBezTo>
                  <a:pt x="3155" y="359"/>
                  <a:pt x="3157" y="367"/>
                  <a:pt x="3157" y="376"/>
                </a:cubicBezTo>
                <a:cubicBezTo>
                  <a:pt x="3157" y="387"/>
                  <a:pt x="3154" y="396"/>
                  <a:pt x="3149" y="404"/>
                </a:cubicBezTo>
                <a:cubicBezTo>
                  <a:pt x="3145" y="412"/>
                  <a:pt x="3138" y="419"/>
                  <a:pt x="3130" y="425"/>
                </a:cubicBezTo>
                <a:cubicBezTo>
                  <a:pt x="3122" y="430"/>
                  <a:pt x="3113" y="434"/>
                  <a:pt x="3102" y="436"/>
                </a:cubicBezTo>
                <a:cubicBezTo>
                  <a:pt x="3091" y="439"/>
                  <a:pt x="3080" y="440"/>
                  <a:pt x="3069" y="440"/>
                </a:cubicBezTo>
                <a:cubicBezTo>
                  <a:pt x="3046" y="440"/>
                  <a:pt x="3026" y="436"/>
                  <a:pt x="3009" y="427"/>
                </a:cubicBezTo>
                <a:close/>
                <a:moveTo>
                  <a:pt x="3212" y="156"/>
                </a:moveTo>
                <a:cubicBezTo>
                  <a:pt x="3206" y="156"/>
                  <a:pt x="3200" y="154"/>
                  <a:pt x="3196" y="149"/>
                </a:cubicBezTo>
                <a:cubicBezTo>
                  <a:pt x="3191" y="145"/>
                  <a:pt x="3189" y="140"/>
                  <a:pt x="3189" y="133"/>
                </a:cubicBezTo>
                <a:cubicBezTo>
                  <a:pt x="3189" y="126"/>
                  <a:pt x="3191" y="121"/>
                  <a:pt x="3196" y="116"/>
                </a:cubicBezTo>
                <a:cubicBezTo>
                  <a:pt x="3200" y="112"/>
                  <a:pt x="3206" y="110"/>
                  <a:pt x="3212" y="110"/>
                </a:cubicBezTo>
                <a:cubicBezTo>
                  <a:pt x="3218" y="110"/>
                  <a:pt x="3224" y="112"/>
                  <a:pt x="3229" y="116"/>
                </a:cubicBezTo>
                <a:cubicBezTo>
                  <a:pt x="3233" y="121"/>
                  <a:pt x="3235" y="126"/>
                  <a:pt x="3235" y="133"/>
                </a:cubicBezTo>
                <a:cubicBezTo>
                  <a:pt x="3235" y="139"/>
                  <a:pt x="3233" y="145"/>
                  <a:pt x="3229" y="149"/>
                </a:cubicBezTo>
                <a:cubicBezTo>
                  <a:pt x="3224" y="154"/>
                  <a:pt x="3218" y="156"/>
                  <a:pt x="3212" y="156"/>
                </a:cubicBezTo>
                <a:close/>
                <a:moveTo>
                  <a:pt x="3229" y="435"/>
                </a:moveTo>
                <a:cubicBezTo>
                  <a:pt x="3194" y="435"/>
                  <a:pt x="3194" y="435"/>
                  <a:pt x="3194" y="435"/>
                </a:cubicBezTo>
                <a:cubicBezTo>
                  <a:pt x="3194" y="213"/>
                  <a:pt x="3194" y="213"/>
                  <a:pt x="3194" y="213"/>
                </a:cubicBezTo>
                <a:cubicBezTo>
                  <a:pt x="3229" y="213"/>
                  <a:pt x="3229" y="213"/>
                  <a:pt x="3229" y="213"/>
                </a:cubicBezTo>
                <a:lnTo>
                  <a:pt x="3229" y="435"/>
                </a:lnTo>
                <a:close/>
                <a:moveTo>
                  <a:pt x="3461" y="435"/>
                </a:moveTo>
                <a:cubicBezTo>
                  <a:pt x="3425" y="435"/>
                  <a:pt x="3425" y="435"/>
                  <a:pt x="3425" y="435"/>
                </a:cubicBezTo>
                <a:cubicBezTo>
                  <a:pt x="3425" y="308"/>
                  <a:pt x="3425" y="308"/>
                  <a:pt x="3425" y="308"/>
                </a:cubicBezTo>
                <a:cubicBezTo>
                  <a:pt x="3425" y="261"/>
                  <a:pt x="3408" y="237"/>
                  <a:pt x="3373" y="237"/>
                </a:cubicBezTo>
                <a:cubicBezTo>
                  <a:pt x="3355" y="237"/>
                  <a:pt x="3341" y="244"/>
                  <a:pt x="3329" y="257"/>
                </a:cubicBezTo>
                <a:cubicBezTo>
                  <a:pt x="3317" y="271"/>
                  <a:pt x="3311" y="288"/>
                  <a:pt x="3311" y="308"/>
                </a:cubicBezTo>
                <a:cubicBezTo>
                  <a:pt x="3311" y="435"/>
                  <a:pt x="3311" y="435"/>
                  <a:pt x="3311" y="435"/>
                </a:cubicBezTo>
                <a:cubicBezTo>
                  <a:pt x="3276" y="435"/>
                  <a:pt x="3276" y="435"/>
                  <a:pt x="3276" y="435"/>
                </a:cubicBezTo>
                <a:cubicBezTo>
                  <a:pt x="3276" y="213"/>
                  <a:pt x="3276" y="213"/>
                  <a:pt x="3276" y="213"/>
                </a:cubicBezTo>
                <a:cubicBezTo>
                  <a:pt x="3311" y="213"/>
                  <a:pt x="3311" y="213"/>
                  <a:pt x="3311" y="213"/>
                </a:cubicBezTo>
                <a:cubicBezTo>
                  <a:pt x="3311" y="250"/>
                  <a:pt x="3311" y="250"/>
                  <a:pt x="3311" y="250"/>
                </a:cubicBezTo>
                <a:cubicBezTo>
                  <a:pt x="3312" y="250"/>
                  <a:pt x="3312" y="250"/>
                  <a:pt x="3312" y="250"/>
                </a:cubicBezTo>
                <a:cubicBezTo>
                  <a:pt x="3329" y="221"/>
                  <a:pt x="3353" y="207"/>
                  <a:pt x="3385" y="207"/>
                </a:cubicBezTo>
                <a:cubicBezTo>
                  <a:pt x="3410" y="207"/>
                  <a:pt x="3428" y="215"/>
                  <a:pt x="3441" y="231"/>
                </a:cubicBezTo>
                <a:cubicBezTo>
                  <a:pt x="3454" y="247"/>
                  <a:pt x="3461" y="269"/>
                  <a:pt x="3461" y="299"/>
                </a:cubicBezTo>
                <a:lnTo>
                  <a:pt x="3461" y="435"/>
                </a:lnTo>
                <a:close/>
                <a:moveTo>
                  <a:pt x="3681" y="333"/>
                </a:moveTo>
                <a:cubicBezTo>
                  <a:pt x="3524" y="333"/>
                  <a:pt x="3524" y="333"/>
                  <a:pt x="3524" y="333"/>
                </a:cubicBezTo>
                <a:cubicBezTo>
                  <a:pt x="3524" y="358"/>
                  <a:pt x="3531" y="377"/>
                  <a:pt x="3544" y="390"/>
                </a:cubicBezTo>
                <a:cubicBezTo>
                  <a:pt x="3556" y="404"/>
                  <a:pt x="3574" y="410"/>
                  <a:pt x="3596" y="410"/>
                </a:cubicBezTo>
                <a:cubicBezTo>
                  <a:pt x="3621" y="410"/>
                  <a:pt x="3644" y="402"/>
                  <a:pt x="3665" y="386"/>
                </a:cubicBezTo>
                <a:cubicBezTo>
                  <a:pt x="3665" y="419"/>
                  <a:pt x="3665" y="419"/>
                  <a:pt x="3665" y="419"/>
                </a:cubicBezTo>
                <a:cubicBezTo>
                  <a:pt x="3646" y="433"/>
                  <a:pt x="3620" y="440"/>
                  <a:pt x="3588" y="440"/>
                </a:cubicBezTo>
                <a:cubicBezTo>
                  <a:pt x="3556" y="440"/>
                  <a:pt x="3532" y="430"/>
                  <a:pt x="3514" y="410"/>
                </a:cubicBezTo>
                <a:cubicBezTo>
                  <a:pt x="3496" y="390"/>
                  <a:pt x="3487" y="361"/>
                  <a:pt x="3487" y="325"/>
                </a:cubicBezTo>
                <a:cubicBezTo>
                  <a:pt x="3487" y="290"/>
                  <a:pt x="3496" y="262"/>
                  <a:pt x="3516" y="240"/>
                </a:cubicBezTo>
                <a:cubicBezTo>
                  <a:pt x="3536" y="218"/>
                  <a:pt x="3560" y="207"/>
                  <a:pt x="3589" y="207"/>
                </a:cubicBezTo>
                <a:cubicBezTo>
                  <a:pt x="3618" y="207"/>
                  <a:pt x="3641" y="217"/>
                  <a:pt x="3657" y="236"/>
                </a:cubicBezTo>
                <a:cubicBezTo>
                  <a:pt x="3673" y="254"/>
                  <a:pt x="3681" y="281"/>
                  <a:pt x="3681" y="314"/>
                </a:cubicBezTo>
                <a:lnTo>
                  <a:pt x="3681" y="333"/>
                </a:lnTo>
                <a:close/>
                <a:moveTo>
                  <a:pt x="3644" y="303"/>
                </a:moveTo>
                <a:cubicBezTo>
                  <a:pt x="3644" y="282"/>
                  <a:pt x="3639" y="266"/>
                  <a:pt x="3629" y="255"/>
                </a:cubicBezTo>
                <a:cubicBezTo>
                  <a:pt x="3620" y="243"/>
                  <a:pt x="3606" y="237"/>
                  <a:pt x="3589" y="237"/>
                </a:cubicBezTo>
                <a:cubicBezTo>
                  <a:pt x="3572" y="237"/>
                  <a:pt x="3558" y="243"/>
                  <a:pt x="3546" y="255"/>
                </a:cubicBezTo>
                <a:cubicBezTo>
                  <a:pt x="3534" y="267"/>
                  <a:pt x="3527" y="283"/>
                  <a:pt x="3524" y="303"/>
                </a:cubicBezTo>
                <a:lnTo>
                  <a:pt x="3644" y="303"/>
                </a:lnTo>
                <a:close/>
                <a:moveTo>
                  <a:pt x="3706" y="427"/>
                </a:moveTo>
                <a:cubicBezTo>
                  <a:pt x="3706" y="389"/>
                  <a:pt x="3706" y="389"/>
                  <a:pt x="3706" y="389"/>
                </a:cubicBezTo>
                <a:cubicBezTo>
                  <a:pt x="3725" y="403"/>
                  <a:pt x="3746" y="410"/>
                  <a:pt x="3770" y="410"/>
                </a:cubicBezTo>
                <a:cubicBezTo>
                  <a:pt x="3801" y="410"/>
                  <a:pt x="3817" y="400"/>
                  <a:pt x="3817" y="379"/>
                </a:cubicBezTo>
                <a:cubicBezTo>
                  <a:pt x="3817" y="373"/>
                  <a:pt x="3815" y="368"/>
                  <a:pt x="3813" y="364"/>
                </a:cubicBezTo>
                <a:cubicBezTo>
                  <a:pt x="3810" y="360"/>
                  <a:pt x="3806" y="356"/>
                  <a:pt x="3802" y="353"/>
                </a:cubicBezTo>
                <a:cubicBezTo>
                  <a:pt x="3797" y="350"/>
                  <a:pt x="3792" y="347"/>
                  <a:pt x="3786" y="344"/>
                </a:cubicBezTo>
                <a:cubicBezTo>
                  <a:pt x="3780" y="342"/>
                  <a:pt x="3773" y="339"/>
                  <a:pt x="3766" y="336"/>
                </a:cubicBezTo>
                <a:cubicBezTo>
                  <a:pt x="3756" y="333"/>
                  <a:pt x="3747" y="329"/>
                  <a:pt x="3740" y="325"/>
                </a:cubicBezTo>
                <a:cubicBezTo>
                  <a:pt x="3732" y="321"/>
                  <a:pt x="3726" y="316"/>
                  <a:pt x="3721" y="311"/>
                </a:cubicBezTo>
                <a:cubicBezTo>
                  <a:pt x="3716" y="306"/>
                  <a:pt x="3712" y="300"/>
                  <a:pt x="3710" y="294"/>
                </a:cubicBezTo>
                <a:cubicBezTo>
                  <a:pt x="3707" y="288"/>
                  <a:pt x="3706" y="280"/>
                  <a:pt x="3706" y="272"/>
                </a:cubicBezTo>
                <a:cubicBezTo>
                  <a:pt x="3706" y="261"/>
                  <a:pt x="3708" y="252"/>
                  <a:pt x="3713" y="244"/>
                </a:cubicBezTo>
                <a:cubicBezTo>
                  <a:pt x="3718" y="236"/>
                  <a:pt x="3724" y="229"/>
                  <a:pt x="3732" y="224"/>
                </a:cubicBezTo>
                <a:cubicBezTo>
                  <a:pt x="3740" y="218"/>
                  <a:pt x="3749" y="214"/>
                  <a:pt x="3760" y="211"/>
                </a:cubicBezTo>
                <a:cubicBezTo>
                  <a:pt x="3770" y="209"/>
                  <a:pt x="3780" y="207"/>
                  <a:pt x="3791" y="207"/>
                </a:cubicBezTo>
                <a:cubicBezTo>
                  <a:pt x="3811" y="207"/>
                  <a:pt x="3828" y="211"/>
                  <a:pt x="3843" y="217"/>
                </a:cubicBezTo>
                <a:cubicBezTo>
                  <a:pt x="3843" y="253"/>
                  <a:pt x="3843" y="253"/>
                  <a:pt x="3843" y="253"/>
                </a:cubicBezTo>
                <a:cubicBezTo>
                  <a:pt x="3827" y="243"/>
                  <a:pt x="3808" y="237"/>
                  <a:pt x="3787" y="237"/>
                </a:cubicBezTo>
                <a:cubicBezTo>
                  <a:pt x="3780" y="237"/>
                  <a:pt x="3774" y="238"/>
                  <a:pt x="3769" y="240"/>
                </a:cubicBezTo>
                <a:cubicBezTo>
                  <a:pt x="3763" y="241"/>
                  <a:pt x="3759" y="243"/>
                  <a:pt x="3755" y="246"/>
                </a:cubicBezTo>
                <a:cubicBezTo>
                  <a:pt x="3751" y="249"/>
                  <a:pt x="3748" y="252"/>
                  <a:pt x="3746" y="256"/>
                </a:cubicBezTo>
                <a:cubicBezTo>
                  <a:pt x="3744" y="260"/>
                  <a:pt x="3743" y="264"/>
                  <a:pt x="3743" y="269"/>
                </a:cubicBezTo>
                <a:cubicBezTo>
                  <a:pt x="3743" y="274"/>
                  <a:pt x="3744" y="279"/>
                  <a:pt x="3746" y="283"/>
                </a:cubicBezTo>
                <a:cubicBezTo>
                  <a:pt x="3748" y="287"/>
                  <a:pt x="3751" y="291"/>
                  <a:pt x="3755" y="294"/>
                </a:cubicBezTo>
                <a:cubicBezTo>
                  <a:pt x="3759" y="297"/>
                  <a:pt x="3764" y="299"/>
                  <a:pt x="3770" y="302"/>
                </a:cubicBezTo>
                <a:cubicBezTo>
                  <a:pt x="3776" y="304"/>
                  <a:pt x="3782" y="307"/>
                  <a:pt x="3790" y="310"/>
                </a:cubicBezTo>
                <a:cubicBezTo>
                  <a:pt x="3799" y="314"/>
                  <a:pt x="3808" y="318"/>
                  <a:pt x="3816" y="322"/>
                </a:cubicBezTo>
                <a:cubicBezTo>
                  <a:pt x="3824" y="326"/>
                  <a:pt x="3831" y="330"/>
                  <a:pt x="3836" y="335"/>
                </a:cubicBezTo>
                <a:cubicBezTo>
                  <a:pt x="3842" y="340"/>
                  <a:pt x="3846" y="346"/>
                  <a:pt x="3849" y="352"/>
                </a:cubicBezTo>
                <a:cubicBezTo>
                  <a:pt x="3852" y="359"/>
                  <a:pt x="3853" y="367"/>
                  <a:pt x="3853" y="376"/>
                </a:cubicBezTo>
                <a:cubicBezTo>
                  <a:pt x="3853" y="387"/>
                  <a:pt x="3851" y="396"/>
                  <a:pt x="3846" y="404"/>
                </a:cubicBezTo>
                <a:cubicBezTo>
                  <a:pt x="3841" y="412"/>
                  <a:pt x="3835" y="419"/>
                  <a:pt x="3827" y="425"/>
                </a:cubicBezTo>
                <a:cubicBezTo>
                  <a:pt x="3818" y="430"/>
                  <a:pt x="3809" y="434"/>
                  <a:pt x="3799" y="436"/>
                </a:cubicBezTo>
                <a:cubicBezTo>
                  <a:pt x="3788" y="439"/>
                  <a:pt x="3777" y="440"/>
                  <a:pt x="3765" y="440"/>
                </a:cubicBezTo>
                <a:cubicBezTo>
                  <a:pt x="3742" y="440"/>
                  <a:pt x="3722" y="436"/>
                  <a:pt x="3706" y="427"/>
                </a:cubicBezTo>
                <a:close/>
                <a:moveTo>
                  <a:pt x="3877" y="427"/>
                </a:moveTo>
                <a:cubicBezTo>
                  <a:pt x="3877" y="389"/>
                  <a:pt x="3877" y="389"/>
                  <a:pt x="3877" y="389"/>
                </a:cubicBezTo>
                <a:cubicBezTo>
                  <a:pt x="3897" y="403"/>
                  <a:pt x="3918" y="410"/>
                  <a:pt x="3941" y="410"/>
                </a:cubicBezTo>
                <a:cubicBezTo>
                  <a:pt x="3973" y="410"/>
                  <a:pt x="3988" y="400"/>
                  <a:pt x="3988" y="379"/>
                </a:cubicBezTo>
                <a:cubicBezTo>
                  <a:pt x="3988" y="373"/>
                  <a:pt x="3987" y="368"/>
                  <a:pt x="3984" y="364"/>
                </a:cubicBezTo>
                <a:cubicBezTo>
                  <a:pt x="3982" y="360"/>
                  <a:pt x="3978" y="356"/>
                  <a:pt x="3973" y="353"/>
                </a:cubicBezTo>
                <a:cubicBezTo>
                  <a:pt x="3969" y="350"/>
                  <a:pt x="3964" y="347"/>
                  <a:pt x="3957" y="344"/>
                </a:cubicBezTo>
                <a:cubicBezTo>
                  <a:pt x="3951" y="342"/>
                  <a:pt x="3945" y="339"/>
                  <a:pt x="3937" y="336"/>
                </a:cubicBezTo>
                <a:cubicBezTo>
                  <a:pt x="3928" y="333"/>
                  <a:pt x="3919" y="329"/>
                  <a:pt x="3911" y="325"/>
                </a:cubicBezTo>
                <a:cubicBezTo>
                  <a:pt x="3904" y="321"/>
                  <a:pt x="3898" y="316"/>
                  <a:pt x="3893" y="311"/>
                </a:cubicBezTo>
                <a:cubicBezTo>
                  <a:pt x="3888" y="306"/>
                  <a:pt x="3884" y="300"/>
                  <a:pt x="3881" y="294"/>
                </a:cubicBezTo>
                <a:cubicBezTo>
                  <a:pt x="3879" y="288"/>
                  <a:pt x="3878" y="280"/>
                  <a:pt x="3878" y="272"/>
                </a:cubicBezTo>
                <a:cubicBezTo>
                  <a:pt x="3878" y="261"/>
                  <a:pt x="3880" y="252"/>
                  <a:pt x="3885" y="244"/>
                </a:cubicBezTo>
                <a:cubicBezTo>
                  <a:pt x="3890" y="236"/>
                  <a:pt x="3896" y="229"/>
                  <a:pt x="3904" y="224"/>
                </a:cubicBezTo>
                <a:cubicBezTo>
                  <a:pt x="3912" y="218"/>
                  <a:pt x="3921" y="214"/>
                  <a:pt x="3931" y="211"/>
                </a:cubicBezTo>
                <a:cubicBezTo>
                  <a:pt x="3941" y="209"/>
                  <a:pt x="3952" y="207"/>
                  <a:pt x="3963" y="207"/>
                </a:cubicBezTo>
                <a:cubicBezTo>
                  <a:pt x="3982" y="207"/>
                  <a:pt x="3999" y="211"/>
                  <a:pt x="4015" y="217"/>
                </a:cubicBezTo>
                <a:cubicBezTo>
                  <a:pt x="4015" y="253"/>
                  <a:pt x="4015" y="253"/>
                  <a:pt x="4015" y="253"/>
                </a:cubicBezTo>
                <a:cubicBezTo>
                  <a:pt x="3998" y="243"/>
                  <a:pt x="3979" y="237"/>
                  <a:pt x="3958" y="237"/>
                </a:cubicBezTo>
                <a:cubicBezTo>
                  <a:pt x="3951" y="237"/>
                  <a:pt x="3945" y="238"/>
                  <a:pt x="3940" y="240"/>
                </a:cubicBezTo>
                <a:cubicBezTo>
                  <a:pt x="3935" y="241"/>
                  <a:pt x="3930" y="243"/>
                  <a:pt x="3926" y="246"/>
                </a:cubicBezTo>
                <a:cubicBezTo>
                  <a:pt x="3922" y="249"/>
                  <a:pt x="3919" y="252"/>
                  <a:pt x="3917" y="256"/>
                </a:cubicBezTo>
                <a:cubicBezTo>
                  <a:pt x="3915" y="260"/>
                  <a:pt x="3914" y="264"/>
                  <a:pt x="3914" y="269"/>
                </a:cubicBezTo>
                <a:cubicBezTo>
                  <a:pt x="3914" y="274"/>
                  <a:pt x="3915" y="279"/>
                  <a:pt x="3917" y="283"/>
                </a:cubicBezTo>
                <a:cubicBezTo>
                  <a:pt x="3919" y="287"/>
                  <a:pt x="3923" y="291"/>
                  <a:pt x="3927" y="294"/>
                </a:cubicBezTo>
                <a:cubicBezTo>
                  <a:pt x="3931" y="297"/>
                  <a:pt x="3936" y="299"/>
                  <a:pt x="3941" y="302"/>
                </a:cubicBezTo>
                <a:cubicBezTo>
                  <a:pt x="3947" y="304"/>
                  <a:pt x="3954" y="307"/>
                  <a:pt x="3961" y="310"/>
                </a:cubicBezTo>
                <a:cubicBezTo>
                  <a:pt x="3971" y="314"/>
                  <a:pt x="3980" y="318"/>
                  <a:pt x="3988" y="322"/>
                </a:cubicBezTo>
                <a:cubicBezTo>
                  <a:pt x="3996" y="326"/>
                  <a:pt x="4002" y="330"/>
                  <a:pt x="4008" y="335"/>
                </a:cubicBezTo>
                <a:cubicBezTo>
                  <a:pt x="4013" y="340"/>
                  <a:pt x="4017" y="346"/>
                  <a:pt x="4020" y="352"/>
                </a:cubicBezTo>
                <a:cubicBezTo>
                  <a:pt x="4023" y="359"/>
                  <a:pt x="4025" y="367"/>
                  <a:pt x="4025" y="376"/>
                </a:cubicBezTo>
                <a:cubicBezTo>
                  <a:pt x="4025" y="387"/>
                  <a:pt x="4022" y="396"/>
                  <a:pt x="4018" y="404"/>
                </a:cubicBezTo>
                <a:cubicBezTo>
                  <a:pt x="4013" y="412"/>
                  <a:pt x="4006" y="419"/>
                  <a:pt x="3998" y="425"/>
                </a:cubicBezTo>
                <a:cubicBezTo>
                  <a:pt x="3990" y="430"/>
                  <a:pt x="3981" y="434"/>
                  <a:pt x="3970" y="436"/>
                </a:cubicBezTo>
                <a:cubicBezTo>
                  <a:pt x="3959" y="439"/>
                  <a:pt x="3948" y="440"/>
                  <a:pt x="3937" y="440"/>
                </a:cubicBezTo>
                <a:cubicBezTo>
                  <a:pt x="3914" y="440"/>
                  <a:pt x="3894" y="436"/>
                  <a:pt x="3877" y="427"/>
                </a:cubicBezTo>
                <a:close/>
              </a:path>
            </a:pathLst>
          </a:custGeom>
          <a:solidFill>
            <a:schemeClr val="tx2"/>
          </a:solidFill>
          <a:ln>
            <a:noFill/>
          </a:ln>
        </p:spPr>
        <p:txBody>
          <a:bodyPr vert="horz" wrap="square" lIns="89570" tIns="44786" rIns="89570" bIns="44786" numCol="1" anchor="t" anchorCtr="0" compatLnSpc="1">
            <a:prstTxWarp prst="textNoShape">
              <a:avLst/>
            </a:prstTxWarp>
          </a:bodyPr>
          <a:lstStyle/>
          <a:p>
            <a:pPr marL="0" marR="0" lvl="0" indent="0" algn="l" defTabSz="913555" rtl="0" eaLnBrk="1" fontAlgn="auto" latinLnBrk="0" hangingPunct="1">
              <a:lnSpc>
                <a:spcPct val="100000"/>
              </a:lnSpc>
              <a:spcBef>
                <a:spcPts val="0"/>
              </a:spcBef>
              <a:spcAft>
                <a:spcPts val="0"/>
              </a:spcAft>
              <a:buClrTx/>
              <a:buSzTx/>
              <a:buFontTx/>
              <a:buNone/>
              <a:tabLst/>
              <a:defRPr/>
            </a:pPr>
            <a:endParaRPr kumimoji="0" lang="en-US" sz="1763"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4520477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
        <p:nvSpPr>
          <p:cNvPr id="3" name="Footer Placeholder 2"/>
          <p:cNvSpPr>
            <a:spLocks noGrp="1"/>
          </p:cNvSpPr>
          <p:nvPr>
            <p:ph type="ftr" sz="quarter" idx="10"/>
          </p:nvPr>
        </p:nvSpPr>
        <p:spPr>
          <a:xfrm>
            <a:off x="228600" y="6553201"/>
            <a:ext cx="5865814" cy="304801"/>
          </a:xfrm>
        </p:spPr>
        <p:txBody>
          <a:bodyPr/>
          <a:lstStyle/>
          <a:p>
            <a:pPr defTabSz="1087869"/>
            <a:endParaRPr lang="en-US" dirty="0">
              <a:solidFill>
                <a:srgbClr val="505050"/>
              </a:solidFill>
            </a:endParaRPr>
          </a:p>
        </p:txBody>
      </p:sp>
      <p:sp>
        <p:nvSpPr>
          <p:cNvPr id="6" name="Picture Placeholder 5"/>
          <p:cNvSpPr>
            <a:spLocks noGrp="1"/>
          </p:cNvSpPr>
          <p:nvPr>
            <p:ph type="pic" sz="quarter" idx="12"/>
          </p:nvPr>
        </p:nvSpPr>
        <p:spPr>
          <a:xfrm>
            <a:off x="1"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313335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80"/>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529920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87" indent="0">
              <a:buNone/>
              <a:defRPr/>
            </a:lvl3pPr>
            <a:lvl4pPr marL="447973" indent="0">
              <a:buNone/>
              <a:defRPr/>
            </a:lvl4pPr>
            <a:lvl5pPr marL="67195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500280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1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370634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1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492079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gradFill>
                  <a:gsLst>
                    <a:gs pos="1250">
                      <a:schemeClr val="tx2"/>
                    </a:gs>
                    <a:gs pos="99000">
                      <a:schemeClr val="tx2"/>
                    </a:gs>
                  </a:gsLst>
                  <a:lin ang="5400000" scaled="0"/>
                </a:gradFill>
              </a:defRPr>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5273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5"/>
            </a:lvl1pPr>
            <a:lvl2pPr marL="0" indent="0">
              <a:buNone/>
              <a:defRPr sz="1960"/>
            </a:lvl2pPr>
            <a:lvl3pPr marL="227097" indent="0">
              <a:buNone/>
              <a:tabLst/>
              <a:defRPr sz="1960"/>
            </a:lvl3pPr>
            <a:lvl4pPr marL="451084" indent="0">
              <a:buNone/>
              <a:defRPr/>
            </a:lvl4pPr>
            <a:lvl5pPr marL="67195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223141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39" indent="-28153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39" indent="-281539">
              <a:spcBef>
                <a:spcPts val="1200"/>
              </a:spcBef>
              <a:buClr>
                <a:schemeClr val="tx2"/>
              </a:buClr>
              <a:buFont typeface="Arial" pitchFamily="34" charset="0"/>
              <a:buChar char="•"/>
              <a:defRPr sz="3135">
                <a:gradFill>
                  <a:gsLst>
                    <a:gs pos="1250">
                      <a:schemeClr val="tx2"/>
                    </a:gs>
                    <a:gs pos="99000">
                      <a:schemeClr val="tx2"/>
                    </a:gs>
                  </a:gsLst>
                  <a:lin ang="5400000" scaled="0"/>
                </a:gradFill>
              </a:defRPr>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24840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539" indent="-281539">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539" indent="-281539">
              <a:spcBef>
                <a:spcPts val="1200"/>
              </a:spcBef>
              <a:buClr>
                <a:schemeClr val="tx1"/>
              </a:buClr>
              <a:buFont typeface="Arial" pitchFamily="34" charset="0"/>
              <a:buChar char="•"/>
              <a:defRPr sz="3135"/>
            </a:lvl1pPr>
            <a:lvl2pPr marL="520446" indent="-228488">
              <a:defRPr sz="2352"/>
            </a:lvl2pPr>
            <a:lvl3pPr marL="685465" indent="-165020">
              <a:tabLst/>
              <a:defRPr sz="1960"/>
            </a:lvl3pPr>
            <a:lvl4pPr marL="863178" indent="-177714">
              <a:defRPr/>
            </a:lvl4pPr>
            <a:lvl5pPr marL="1028197" indent="-16502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173813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437206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9"/>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24893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181056696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9"/>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3530257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hoto 1">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4" name="Rectangle 3"/>
          <p:cNvSpPr/>
          <p:nvPr userDrawn="1"/>
        </p:nvSpPr>
        <p:spPr bwMode="auto">
          <a:xfrm>
            <a:off x="2" y="3877280"/>
            <a:ext cx="12191687" cy="2022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10089" tIns="143370" rIns="179212" bIns="143370" numCol="1" spcCol="0" rtlCol="0" fromWordArt="0" anchor="ctr" anchorCtr="0" forceAA="0" compatLnSpc="1">
            <a:prstTxWarp prst="textNoShape">
              <a:avLst/>
            </a:prstTxWarp>
            <a:noAutofit/>
          </a:bodyPr>
          <a:lstStyle/>
          <a:p>
            <a:pPr marL="0" marR="0" lvl="0" indent="0" algn="l" defTabSz="913653" rtl="0" eaLnBrk="1" fontAlgn="base" latinLnBrk="0" hangingPunct="1">
              <a:lnSpc>
                <a:spcPct val="100000"/>
              </a:lnSpc>
              <a:spcBef>
                <a:spcPct val="0"/>
              </a:spcBef>
              <a:spcAft>
                <a:spcPct val="0"/>
              </a:spcAft>
              <a:buClrTx/>
              <a:buSzTx/>
              <a:buFontTx/>
              <a:buNone/>
              <a:tabLst/>
              <a:defRPr/>
            </a:pPr>
            <a:endParaRPr kumimoji="0" lang="en-US" sz="2744" b="0" i="0" u="none" strike="noStrike" kern="1200" cap="none" spc="0" normalizeH="0" baseline="0" noProof="0" dirty="0">
              <a:ln>
                <a:noFill/>
              </a:ln>
              <a:gradFill>
                <a:gsLst>
                  <a:gs pos="18898">
                    <a:srgbClr val="FFFFFF"/>
                  </a:gs>
                  <a:gs pos="37000">
                    <a:srgbClr val="FFFFFF"/>
                  </a:gs>
                </a:gsLst>
                <a:lin ang="5400000" scaled="1"/>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3877279"/>
            <a:ext cx="11653523" cy="2022775"/>
          </a:xfrm>
          <a:noFill/>
        </p:spPr>
        <p:txBody>
          <a:bodyPr tIns="91440" bIns="91440" anchor="t" anchorCtr="0">
            <a:no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491248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Photo 2">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2" y="-312"/>
            <a:ext cx="12191377" cy="6858623"/>
          </a:xfrm>
          <a:prstGeom prst="rect">
            <a:avLst/>
          </a:prstGeom>
        </p:spPr>
      </p:pic>
      <p:sp>
        <p:nvSpPr>
          <p:cNvPr id="4" name="Rectangle 3"/>
          <p:cNvSpPr/>
          <p:nvPr userDrawn="1"/>
        </p:nvSpPr>
        <p:spPr bwMode="auto">
          <a:xfrm>
            <a:off x="2" y="3877280"/>
            <a:ext cx="12191687" cy="20227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10089" tIns="143370" rIns="179212" bIns="143370" numCol="1" spcCol="0" rtlCol="0" fromWordArt="0" anchor="ctr" anchorCtr="0" forceAA="0" compatLnSpc="1">
            <a:prstTxWarp prst="textNoShape">
              <a:avLst/>
            </a:prstTxWarp>
            <a:noAutofit/>
          </a:bodyPr>
          <a:lstStyle/>
          <a:p>
            <a:pPr marL="0" marR="0" lvl="0" indent="0" algn="l" defTabSz="913653" rtl="0" eaLnBrk="1" fontAlgn="base" latinLnBrk="0" hangingPunct="1">
              <a:lnSpc>
                <a:spcPct val="100000"/>
              </a:lnSpc>
              <a:spcBef>
                <a:spcPct val="0"/>
              </a:spcBef>
              <a:spcAft>
                <a:spcPct val="0"/>
              </a:spcAft>
              <a:buClrTx/>
              <a:buSzTx/>
              <a:buFontTx/>
              <a:buNone/>
              <a:tabLst/>
              <a:defRPr/>
            </a:pPr>
            <a:endParaRPr kumimoji="0" lang="en-US" sz="2744" b="0" i="0" u="none" strike="noStrike" kern="1200" cap="none" spc="0" normalizeH="0" baseline="0" noProof="0" dirty="0">
              <a:ln>
                <a:noFill/>
              </a:ln>
              <a:gradFill>
                <a:gsLst>
                  <a:gs pos="18898">
                    <a:srgbClr val="FFFFFF"/>
                  </a:gs>
                  <a:gs pos="37000">
                    <a:srgbClr val="FFFFFF"/>
                  </a:gs>
                </a:gsLst>
                <a:lin ang="5400000" scaled="1"/>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3877279"/>
            <a:ext cx="11653523" cy="2022775"/>
          </a:xfrm>
          <a:noFill/>
        </p:spPr>
        <p:txBody>
          <a:bodyPr tIns="91440" bIns="91440" anchor="t" anchorCtr="0">
            <a:no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74203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4929837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458271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04325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5"/>
            <a:ext cx="11653523" cy="1158793"/>
          </a:xfrm>
          <a:noFill/>
        </p:spPr>
        <p:txBody>
          <a:bodyPr tIns="91440" bIns="91440" anchor="t" anchorCtr="0">
            <a:spAutoFit/>
          </a:bodyPr>
          <a:lstStyle>
            <a:lvl1pPr>
              <a:defRPr sz="7054"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49801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7"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77759294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77206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44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228601" y="6553201"/>
            <a:ext cx="11201400" cy="304801"/>
          </a:xfrm>
        </p:spPr>
        <p:txBody>
          <a:bodyPr/>
          <a:lstStyle/>
          <a:p>
            <a:endParaRPr lang="en-US" dirty="0">
              <a:solidFill>
                <a:srgbClr val="505050"/>
              </a:solidFill>
            </a:endParaRPr>
          </a:p>
        </p:txBody>
      </p:sp>
    </p:spTree>
    <p:extLst>
      <p:ext uri="{BB962C8B-B14F-4D97-AF65-F5344CB8AC3E}">
        <p14:creationId xmlns:p14="http://schemas.microsoft.com/office/powerpoint/2010/main" val="8034119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2094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2147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3" tIns="45703" rIns="45703" bIns="45703" numCol="1" spcCol="0" rtlCol="0" fromWordArt="0" anchor="ctr" anchorCtr="0" forceAA="0" compatLnSpc="1">
            <a:prstTxWarp prst="textNoShape">
              <a:avLst/>
            </a:prstTxWarp>
            <a:noAutofit/>
          </a:bodyPr>
          <a:lstStyle/>
          <a:p>
            <a:pPr marL="0" marR="0" lvl="0" indent="0" algn="ctr" defTabSz="913653" rtl="0" eaLnBrk="1" fontAlgn="base" latinLnBrk="0" hangingPunct="1">
              <a:lnSpc>
                <a:spcPct val="100000"/>
              </a:lnSpc>
              <a:spcBef>
                <a:spcPct val="0"/>
              </a:spcBef>
              <a:spcAft>
                <a:spcPct val="0"/>
              </a:spcAft>
              <a:buClrTx/>
              <a:buSzTx/>
              <a:buFontTx/>
              <a:buNone/>
              <a:tabLst/>
              <a:defRPr/>
            </a:pPr>
            <a:endParaRPr kumimoji="0" lang="en-US" sz="176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0" y="1197325"/>
            <a:ext cx="11653522" cy="195697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5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2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7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022814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9"/>
            <a:ext cx="11653522" cy="39531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6E6E73"/>
                    </a:gs>
                    <a:gs pos="100000">
                      <a:srgbClr val="6E6E73"/>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5" y="3083653"/>
            <a:ext cx="3227129" cy="692057"/>
          </a:xfrm>
          <a:prstGeom prst="rect">
            <a:avLst/>
          </a:prstGeom>
        </p:spPr>
      </p:pic>
    </p:spTree>
    <p:extLst>
      <p:ext uri="{BB962C8B-B14F-4D97-AF65-F5344CB8AC3E}">
        <p14:creationId xmlns:p14="http://schemas.microsoft.com/office/powerpoint/2010/main" val="3755121485"/>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5"/>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9"/>
            <a:ext cx="11653522" cy="395317"/>
          </a:xfrm>
          <a:prstGeom prst="rect">
            <a:avLst/>
          </a:prstGeom>
          <a:noFill/>
          <a:ln w="12700">
            <a:noFill/>
            <a:miter lim="800000"/>
            <a:headEnd type="none" w="sm" len="sm"/>
            <a:tailEnd type="none" w="sm" len="sm"/>
          </a:ln>
          <a:effectLst/>
        </p:spPr>
        <p:txBody>
          <a:bodyPr vert="horz" wrap="square" lIns="179212" tIns="143370" rIns="179212" bIns="143370" numCol="1" anchor="t" anchorCtr="0" compatLnSpc="1">
            <a:prstTxWarp prst="textNoShape">
              <a:avLst/>
            </a:prstTxWarp>
            <a:spAutoFit/>
          </a:bodyPr>
          <a:lstStyle/>
          <a:p>
            <a:pPr marL="0" marR="0" lvl="0" indent="0" algn="l" defTabSz="91347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a:xfrm>
            <a:off x="450207" y="3083652"/>
            <a:ext cx="3227129" cy="692059"/>
          </a:xfrm>
          <a:prstGeom prst="rect">
            <a:avLst/>
          </a:prstGeom>
        </p:spPr>
      </p:pic>
    </p:spTree>
    <p:extLst>
      <p:ext uri="{BB962C8B-B14F-4D97-AF65-F5344CB8AC3E}">
        <p14:creationId xmlns:p14="http://schemas.microsoft.com/office/powerpoint/2010/main" val="3342543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80"/>
            <a:ext cx="11653523" cy="2396047"/>
          </a:xfrm>
          <a:prstGeom prst="rect">
            <a:avLst/>
          </a:prstGeom>
        </p:spPr>
        <p:txBody>
          <a:bodyPr/>
          <a:lstStyle>
            <a:lvl1pPr marL="284650" indent="-28465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66" indent="-27531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16" indent="-284650">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602" indent="-223987">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588" indent="-22398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52609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Slide">
    <p:bg bwMode="black">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white">
          <a:xfrm>
            <a:off x="269240" y="2084186"/>
            <a:ext cx="10757098" cy="1793090"/>
          </a:xfrm>
          <a:noFill/>
        </p:spPr>
        <p:txBody>
          <a:bodyPr lIns="146304" tIns="91440" rIns="146304" bIns="91440" anchor="t" anchorCtr="0"/>
          <a:lstStyle>
            <a:lvl1pPr>
              <a:defRPr sz="5291"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white">
          <a:xfrm>
            <a:off x="269220" y="3878573"/>
            <a:ext cx="10757173" cy="1792326"/>
          </a:xfrm>
          <a:noFill/>
        </p:spPr>
        <p:txBody>
          <a:bodyPr lIns="146304" tIns="109728" rIns="146304" bIns="109728">
            <a:noAutofit/>
          </a:bodyPr>
          <a:lstStyle>
            <a:lvl1pPr marL="0" indent="0">
              <a:spcBef>
                <a:spcPts val="0"/>
              </a:spcBef>
              <a:buNone/>
              <a:defRPr sz="313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8093" y="6122170"/>
            <a:ext cx="1254995" cy="267546"/>
          </a:xfrm>
          <a:prstGeom prst="rect">
            <a:avLst/>
          </a:prstGeom>
        </p:spPr>
      </p:pic>
      <p:sp>
        <p:nvSpPr>
          <p:cNvPr id="6" name="Text Placeholder 3"/>
          <p:cNvSpPr>
            <a:spLocks noGrp="1"/>
          </p:cNvSpPr>
          <p:nvPr>
            <p:ph type="body" sz="quarter" idx="13" hasCustomPrompt="1"/>
          </p:nvPr>
        </p:nvSpPr>
        <p:spPr>
          <a:xfrm>
            <a:off x="269240" y="291069"/>
            <a:ext cx="3585699" cy="672414"/>
          </a:xfrm>
        </p:spPr>
        <p:txBody>
          <a:bodyPr lIns="182880" tIns="146304" rIns="182880" bIns="146304">
            <a:noAutofit/>
          </a:bodyPr>
          <a:lstStyle>
            <a:lvl1pPr marL="0" indent="0">
              <a:buNone/>
              <a:defRPr sz="1960">
                <a:latin typeface="+mn-lt"/>
              </a:defRPr>
            </a:lvl1pPr>
            <a:lvl2pPr marL="335979" indent="0">
              <a:buNone/>
              <a:defRPr sz="2352">
                <a:latin typeface="+mn-lt"/>
              </a:defRPr>
            </a:lvl2pPr>
            <a:lvl3pPr marL="559966" indent="0">
              <a:buNone/>
              <a:defRPr sz="2352">
                <a:latin typeface="+mn-lt"/>
              </a:defRPr>
            </a:lvl3pPr>
            <a:lvl4pPr marL="783952" indent="0">
              <a:buNone/>
              <a:defRPr sz="2352">
                <a:latin typeface="+mn-lt"/>
              </a:defRPr>
            </a:lvl4pPr>
            <a:lvl5pPr marL="1007939" indent="0">
              <a:buNone/>
              <a:defRPr sz="2352">
                <a:latin typeface="+mn-lt"/>
              </a:defRPr>
            </a:lvl5pPr>
          </a:lstStyle>
          <a:p>
            <a:pPr lvl="0"/>
            <a:r>
              <a:rPr lang="en-US" dirty="0"/>
              <a:t>Session Code</a:t>
            </a:r>
          </a:p>
        </p:txBody>
      </p:sp>
    </p:spTree>
    <p:extLst>
      <p:ext uri="{BB962C8B-B14F-4D97-AF65-F5344CB8AC3E}">
        <p14:creationId xmlns:p14="http://schemas.microsoft.com/office/powerpoint/2010/main" val="38448860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7135209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121891039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accent1"/>
        </a:solidFill>
        <a:effectLst/>
      </p:bgPr>
    </p:bg>
    <p:spTree>
      <p:nvGrpSpPr>
        <p:cNvPr id="1" name=""/>
        <p:cNvGrpSpPr/>
        <p:nvPr/>
      </p:nvGrpSpPr>
      <p:grpSpPr>
        <a:xfrm>
          <a:off x="0" y="0"/>
          <a:ext cx="0" cy="0"/>
          <a:chOff x="0" y="0"/>
          <a:chExt cx="0" cy="0"/>
        </a:xfrm>
      </p:grpSpPr>
      <p:sp>
        <p:nvSpPr>
          <p:cNvPr id="3" name="Freeform 2"/>
          <p:cNvSpPr/>
          <p:nvPr userDrawn="1"/>
        </p:nvSpPr>
        <p:spPr bwMode="auto">
          <a:xfrm rot="356565">
            <a:off x="-202445" y="4287523"/>
            <a:ext cx="12466116" cy="3190408"/>
          </a:xfrm>
          <a:custGeom>
            <a:avLst/>
            <a:gdLst>
              <a:gd name="connsiteX0" fmla="*/ 0 w 12716088"/>
              <a:gd name="connsiteY0" fmla="*/ 0 h 3253921"/>
              <a:gd name="connsiteX1" fmla="*/ 12559433 w 12716088"/>
              <a:gd name="connsiteY1" fmla="*/ 460577 h 3253921"/>
              <a:gd name="connsiteX2" fmla="*/ 12716088 w 12716088"/>
              <a:gd name="connsiteY2" fmla="*/ 1965510 h 3253921"/>
              <a:gd name="connsiteX3" fmla="*/ 338714 w 12716088"/>
              <a:gd name="connsiteY3" fmla="*/ 3253921 h 3253921"/>
            </a:gdLst>
            <a:ahLst/>
            <a:cxnLst>
              <a:cxn ang="0">
                <a:pos x="connsiteX0" y="connsiteY0"/>
              </a:cxn>
              <a:cxn ang="0">
                <a:pos x="connsiteX1" y="connsiteY1"/>
              </a:cxn>
              <a:cxn ang="0">
                <a:pos x="connsiteX2" y="connsiteY2"/>
              </a:cxn>
              <a:cxn ang="0">
                <a:pos x="connsiteX3" y="connsiteY3"/>
              </a:cxn>
            </a:cxnLst>
            <a:rect l="l" t="t" r="r" b="b"/>
            <a:pathLst>
              <a:path w="12716088" h="3253921">
                <a:moveTo>
                  <a:pt x="0" y="0"/>
                </a:moveTo>
                <a:lnTo>
                  <a:pt x="12559433" y="460577"/>
                </a:lnTo>
                <a:lnTo>
                  <a:pt x="12716088" y="1965510"/>
                </a:lnTo>
                <a:lnTo>
                  <a:pt x="338714" y="3253921"/>
                </a:lnTo>
                <a:close/>
              </a:path>
            </a:pathLst>
          </a:custGeom>
          <a:solidFill>
            <a:srgbClr val="000000">
              <a:alpha val="9020"/>
            </a:srgbClr>
          </a:solidFill>
          <a:ln>
            <a:noFill/>
          </a:ln>
        </p:spPr>
        <p:txBody>
          <a:bodyPr vert="horz" wrap="square" lIns="89619" tIns="44810" rIns="89619" bIns="44810" numCol="1" anchor="t" anchorCtr="0" compatLnSpc="1">
            <a:prstTxWarp prst="textNoShape">
              <a:avLst/>
            </a:prstTxWarp>
          </a:bodyPr>
          <a:lstStyle/>
          <a:p>
            <a:pPr defTabSz="896203"/>
            <a:endParaRPr lang="en-US" sz="1764" kern="0" dirty="0">
              <a:solidFill>
                <a:srgbClr val="FFFFFF"/>
              </a:solidFill>
            </a:endParaRPr>
          </a:p>
        </p:txBody>
      </p:sp>
      <p:sp>
        <p:nvSpPr>
          <p:cNvPr id="4" name="Freeform 3"/>
          <p:cNvSpPr>
            <a:spLocks/>
          </p:cNvSpPr>
          <p:nvPr userDrawn="1"/>
        </p:nvSpPr>
        <p:spPr bwMode="auto">
          <a:xfrm>
            <a:off x="10158806" y="-312"/>
            <a:ext cx="2033195" cy="5374242"/>
          </a:xfrm>
          <a:custGeom>
            <a:avLst/>
            <a:gdLst>
              <a:gd name="connsiteX0" fmla="*/ 1009 w 2648941"/>
              <a:gd name="connsiteY0" fmla="*/ 6994843 h 6998018"/>
              <a:gd name="connsiteX1" fmla="*/ 2648941 w 2648941"/>
              <a:gd name="connsiteY1" fmla="*/ 6994843 h 6998018"/>
              <a:gd name="connsiteX2" fmla="*/ 2648941 w 2648941"/>
              <a:gd name="connsiteY2" fmla="*/ 6998018 h 6998018"/>
              <a:gd name="connsiteX3" fmla="*/ 0 w 2648941"/>
              <a:gd name="connsiteY3" fmla="*/ 6998018 h 6998018"/>
              <a:gd name="connsiteX4" fmla="*/ 2223218 w 2648941"/>
              <a:gd name="connsiteY4" fmla="*/ 0 h 6998018"/>
              <a:gd name="connsiteX5" fmla="*/ 2648941 w 2648941"/>
              <a:gd name="connsiteY5" fmla="*/ 0 h 6998018"/>
              <a:gd name="connsiteX6" fmla="*/ 2648941 w 2648941"/>
              <a:gd name="connsiteY6" fmla="*/ 5481229 h 6998018"/>
              <a:gd name="connsiteX7" fmla="*/ 574976 w 2648941"/>
              <a:gd name="connsiteY7" fmla="*/ 5188167 h 6998018"/>
              <a:gd name="connsiteX0" fmla="*/ 0 w 2648941"/>
              <a:gd name="connsiteY0" fmla="*/ 6998018 h 6998018"/>
              <a:gd name="connsiteX1" fmla="*/ 2648941 w 2648941"/>
              <a:gd name="connsiteY1" fmla="*/ 6994843 h 6998018"/>
              <a:gd name="connsiteX2" fmla="*/ 2648941 w 2648941"/>
              <a:gd name="connsiteY2" fmla="*/ 6998018 h 6998018"/>
              <a:gd name="connsiteX3" fmla="*/ 0 w 2648941"/>
              <a:gd name="connsiteY3" fmla="*/ 6998018 h 6998018"/>
              <a:gd name="connsiteX4" fmla="*/ 2223218 w 2648941"/>
              <a:gd name="connsiteY4" fmla="*/ 0 h 6998018"/>
              <a:gd name="connsiteX5" fmla="*/ 2648941 w 2648941"/>
              <a:gd name="connsiteY5" fmla="*/ 0 h 6998018"/>
              <a:gd name="connsiteX6" fmla="*/ 2648941 w 2648941"/>
              <a:gd name="connsiteY6" fmla="*/ 5481229 h 6998018"/>
              <a:gd name="connsiteX7" fmla="*/ 574976 w 2648941"/>
              <a:gd name="connsiteY7" fmla="*/ 5188167 h 6998018"/>
              <a:gd name="connsiteX8" fmla="*/ 2223218 w 2648941"/>
              <a:gd name="connsiteY8" fmla="*/ 0 h 6998018"/>
              <a:gd name="connsiteX0" fmla="*/ 2073965 w 2073965"/>
              <a:gd name="connsiteY0" fmla="*/ 6998018 h 6998018"/>
              <a:gd name="connsiteX1" fmla="*/ 2073965 w 2073965"/>
              <a:gd name="connsiteY1" fmla="*/ 6994843 h 6998018"/>
              <a:gd name="connsiteX2" fmla="*/ 2073965 w 2073965"/>
              <a:gd name="connsiteY2" fmla="*/ 6998018 h 6998018"/>
              <a:gd name="connsiteX3" fmla="*/ 1648242 w 2073965"/>
              <a:gd name="connsiteY3" fmla="*/ 0 h 6998018"/>
              <a:gd name="connsiteX4" fmla="*/ 2073965 w 2073965"/>
              <a:gd name="connsiteY4" fmla="*/ 0 h 6998018"/>
              <a:gd name="connsiteX5" fmla="*/ 2073965 w 2073965"/>
              <a:gd name="connsiteY5" fmla="*/ 5481229 h 6998018"/>
              <a:gd name="connsiteX6" fmla="*/ 0 w 2073965"/>
              <a:gd name="connsiteY6" fmla="*/ 5188167 h 6998018"/>
              <a:gd name="connsiteX7" fmla="*/ 1648242 w 2073965"/>
              <a:gd name="connsiteY7" fmla="*/ 0 h 6998018"/>
              <a:gd name="connsiteX0" fmla="*/ 1648242 w 2073965"/>
              <a:gd name="connsiteY0" fmla="*/ 0 h 5481229"/>
              <a:gd name="connsiteX1" fmla="*/ 2073965 w 2073965"/>
              <a:gd name="connsiteY1" fmla="*/ 0 h 5481229"/>
              <a:gd name="connsiteX2" fmla="*/ 2073965 w 2073965"/>
              <a:gd name="connsiteY2" fmla="*/ 5481229 h 5481229"/>
              <a:gd name="connsiteX3" fmla="*/ 0 w 2073965"/>
              <a:gd name="connsiteY3" fmla="*/ 5188167 h 5481229"/>
              <a:gd name="connsiteX4" fmla="*/ 1648242 w 2073965"/>
              <a:gd name="connsiteY4" fmla="*/ 0 h 5481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965" h="5481229">
                <a:moveTo>
                  <a:pt x="1648242" y="0"/>
                </a:moveTo>
                <a:lnTo>
                  <a:pt x="2073965" y="0"/>
                </a:lnTo>
                <a:lnTo>
                  <a:pt x="2073965" y="5481229"/>
                </a:lnTo>
                <a:lnTo>
                  <a:pt x="0" y="5188167"/>
                </a:lnTo>
                <a:lnTo>
                  <a:pt x="1648242" y="0"/>
                </a:lnTo>
                <a:close/>
              </a:path>
            </a:pathLst>
          </a:custGeom>
          <a:solidFill>
            <a:schemeClr val="bg1">
              <a:alpha val="84706"/>
            </a:schemeClr>
          </a:solidFill>
          <a:ln>
            <a:no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rgbClr val="FFFFFF"/>
              </a:solidFill>
            </a:endParaRPr>
          </a:p>
        </p:txBody>
      </p:sp>
      <p:sp>
        <p:nvSpPr>
          <p:cNvPr id="5" name="Freeform 4"/>
          <p:cNvSpPr>
            <a:spLocks/>
          </p:cNvSpPr>
          <p:nvPr userDrawn="1"/>
        </p:nvSpPr>
        <p:spPr bwMode="auto">
          <a:xfrm>
            <a:off x="9596120" y="5086902"/>
            <a:ext cx="2595880" cy="1771412"/>
          </a:xfrm>
          <a:custGeom>
            <a:avLst/>
            <a:gdLst>
              <a:gd name="connsiteX0" fmla="*/ 573968 w 2647933"/>
              <a:gd name="connsiteY0" fmla="*/ 0 h 1806676"/>
              <a:gd name="connsiteX1" fmla="*/ 2647933 w 2647933"/>
              <a:gd name="connsiteY1" fmla="*/ 293062 h 1806676"/>
              <a:gd name="connsiteX2" fmla="*/ 2647933 w 2647933"/>
              <a:gd name="connsiteY2" fmla="*/ 1806676 h 1806676"/>
              <a:gd name="connsiteX3" fmla="*/ 0 w 2647933"/>
              <a:gd name="connsiteY3" fmla="*/ 1806676 h 1806676"/>
              <a:gd name="connsiteX4" fmla="*/ 573968 w 2647933"/>
              <a:gd name="connsiteY4" fmla="*/ 0 h 180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933" h="1806676">
                <a:moveTo>
                  <a:pt x="573968" y="0"/>
                </a:moveTo>
                <a:lnTo>
                  <a:pt x="2647933" y="293062"/>
                </a:lnTo>
                <a:lnTo>
                  <a:pt x="2647933" y="1806676"/>
                </a:lnTo>
                <a:lnTo>
                  <a:pt x="0" y="1806676"/>
                </a:lnTo>
                <a:lnTo>
                  <a:pt x="573968" y="0"/>
                </a:lnTo>
                <a:close/>
              </a:path>
            </a:pathLst>
          </a:custGeom>
          <a:solidFill>
            <a:srgbClr val="FFFFFF"/>
          </a:solidFill>
          <a:ln w="3175">
            <a:solidFill>
              <a:srgbClr val="FFFFFF"/>
            </a:solidFill>
          </a:ln>
        </p:spPr>
        <p:txBody>
          <a:bodyPr vert="horz" wrap="square" lIns="89619" tIns="44810" rIns="89619" bIns="44810" numCol="1" anchor="t" anchorCtr="0" compatLnSpc="1">
            <a:prstTxWarp prst="textNoShape">
              <a:avLst/>
            </a:prstTxWarp>
            <a:noAutofit/>
          </a:bodyPr>
          <a:lstStyle/>
          <a:p>
            <a:pPr defTabSz="896203">
              <a:defRPr/>
            </a:pPr>
            <a:endParaRPr lang="en-US" sz="1764" kern="0">
              <a:solidFill>
                <a:srgbClr val="FFFFFF"/>
              </a:solidFill>
            </a:endParaRPr>
          </a:p>
        </p:txBody>
      </p:sp>
      <p:sp>
        <p:nvSpPr>
          <p:cNvPr id="7" name="Title 6"/>
          <p:cNvSpPr>
            <a:spLocks noGrp="1"/>
          </p:cNvSpPr>
          <p:nvPr>
            <p:ph type="title"/>
          </p:nvPr>
        </p:nvSpPr>
        <p:spPr>
          <a:xfrm>
            <a:off x="519248" y="5086903"/>
            <a:ext cx="11151917" cy="747897"/>
          </a:xfrm>
        </p:spPr>
        <p:txBody>
          <a:bodyPr/>
          <a:lstStyle>
            <a:lvl1pPr algn="l" defTabSz="914363" rtl="0" eaLnBrk="1" latinLnBrk="0" hangingPunct="1">
              <a:lnSpc>
                <a:spcPct val="90000"/>
              </a:lnSpc>
              <a:spcBef>
                <a:spcPct val="0"/>
              </a:spcBef>
              <a:buNone/>
              <a:defRPr lang="en-US" sz="8800" b="0" kern="1200" cap="none" spc="-300" baseline="0" dirty="0">
                <a:ln w="3175">
                  <a:noFill/>
                </a:ln>
                <a:solidFill>
                  <a:schemeClr val="bg1"/>
                </a:solidFill>
                <a:effectLst/>
                <a:latin typeface="+mj-lt"/>
                <a:ea typeface="+mn-ea"/>
                <a:cs typeface="Arial" charset="0"/>
              </a:defRPr>
            </a:lvl1pPr>
          </a:lstStyle>
          <a:p>
            <a:r>
              <a:rPr lang="en-US" dirty="0"/>
              <a:t>Click to edi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20658331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34163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1139174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519248" y="446315"/>
            <a:ext cx="11151917" cy="747897"/>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86053605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7895246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4988645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4760895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4398298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9237961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1633470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01652786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43962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21464441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1"/>
            <a:ext cx="11201400" cy="304801"/>
          </a:xfrm>
        </p:spPr>
        <p:txBody>
          <a:bodyPr/>
          <a:lstStyle/>
          <a:p>
            <a:endParaRPr dirty="0">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28600" y="1597152"/>
            <a:ext cx="3840480" cy="3254248"/>
          </a:xfrm>
        </p:spPr>
        <p:txBody>
          <a:bodyPr lIns="137160" rIns="137160" bIns="137160">
            <a:normAutofit/>
          </a:bodyPr>
          <a:lstStyle>
            <a:lvl1pPr>
              <a:lnSpc>
                <a:spcPct val="100000"/>
              </a:lnSpc>
              <a:spcAft>
                <a:spcPts val="1200"/>
              </a:spcAft>
              <a:defRPr sz="2353"/>
            </a:lvl1pPr>
            <a:lvl2pPr>
              <a:lnSpc>
                <a:spcPct val="100000"/>
              </a:lnSpc>
              <a:spcAft>
                <a:spcPts val="1200"/>
              </a:spcAft>
              <a:defRPr sz="1765"/>
            </a:lvl2pPr>
            <a:lvl3pPr>
              <a:lnSpc>
                <a:spcPct val="100000"/>
              </a:lnSpc>
              <a:spcAft>
                <a:spcPts val="1200"/>
              </a:spcAft>
              <a:defRPr sz="1568"/>
            </a:lvl3pPr>
            <a:lvl4pPr>
              <a:lnSpc>
                <a:spcPct val="100000"/>
              </a:lnSpc>
              <a:spcAft>
                <a:spcPts val="1200"/>
              </a:spcAft>
              <a:defRPr sz="1372"/>
            </a:lvl4pPr>
            <a:lvl5pPr>
              <a:lnSpc>
                <a:spcPct val="100000"/>
              </a:lnSpc>
              <a:spcAft>
                <a:spcPts val="1200"/>
              </a:spcAft>
              <a:defRPr sz="137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Tree>
    <p:extLst>
      <p:ext uri="{BB962C8B-B14F-4D97-AF65-F5344CB8AC3E}">
        <p14:creationId xmlns:p14="http://schemas.microsoft.com/office/powerpoint/2010/main" val="5870369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766606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179825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9266143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532220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2"/>
            <a:ext cx="10240454" cy="997196"/>
          </a:xfrm>
        </p:spPr>
        <p:txBody>
          <a:bodyPr anchor="b" anchorCtr="0"/>
          <a:lstStyle>
            <a:lvl1pPr>
              <a:defRPr sz="719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791" y="6261144"/>
            <a:ext cx="1529225" cy="529583"/>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210556" y="6384982"/>
            <a:ext cx="1286531" cy="281909"/>
          </a:xfrm>
          <a:prstGeom prst="rect">
            <a:avLst/>
          </a:prstGeom>
        </p:spPr>
      </p:pic>
    </p:spTree>
    <p:extLst>
      <p:ext uri="{BB962C8B-B14F-4D97-AF65-F5344CB8AC3E}">
        <p14:creationId xmlns:p14="http://schemas.microsoft.com/office/powerpoint/2010/main" val="20664303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661" indent="0">
              <a:buNone/>
              <a:defRPr sz="1999">
                <a:gradFill>
                  <a:gsLst>
                    <a:gs pos="100000">
                      <a:schemeClr val="bg2"/>
                    </a:gs>
                    <a:gs pos="0">
                      <a:schemeClr val="bg2"/>
                    </a:gs>
                  </a:gsLst>
                  <a:lin ang="5400000" scaled="0"/>
                </a:gradFill>
              </a:defRPr>
            </a:lvl3pPr>
            <a:lvl4pPr marL="456976" indent="0">
              <a:buNone/>
              <a:defRPr sz="1999">
                <a:gradFill>
                  <a:gsLst>
                    <a:gs pos="100000">
                      <a:schemeClr val="bg2"/>
                    </a:gs>
                    <a:gs pos="0">
                      <a:schemeClr val="bg2"/>
                    </a:gs>
                  </a:gsLst>
                  <a:lin ang="5400000" scaled="0"/>
                </a:gradFill>
              </a:defRPr>
            </a:lvl4pPr>
            <a:lvl5pPr marL="693397"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12825737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303686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20" name="Rectangle 19"/>
          <p:cNvSpPr/>
          <p:nvPr userDrawn="1"/>
        </p:nvSpPr>
        <p:spPr>
          <a:xfrm>
            <a:off x="0" y="0"/>
            <a:ext cx="12192000" cy="6858000"/>
          </a:xfrm>
          <a:prstGeom prst="rect">
            <a:avLst/>
          </a:prstGeom>
          <a:solidFill>
            <a:srgbClr val="33302E">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grpSp>
        <p:nvGrpSpPr>
          <p:cNvPr id="11" name="Group 10"/>
          <p:cNvGrpSpPr/>
          <p:nvPr userDrawn="1"/>
        </p:nvGrpSpPr>
        <p:grpSpPr>
          <a:xfrm>
            <a:off x="5023774" y="4836015"/>
            <a:ext cx="2076726" cy="318517"/>
            <a:chOff x="5023773" y="4836014"/>
            <a:chExt cx="2076726" cy="318517"/>
          </a:xfrm>
        </p:grpSpPr>
        <p:sp>
          <p:nvSpPr>
            <p:cNvPr id="12" name="Rectangle 11"/>
            <p:cNvSpPr/>
            <p:nvPr/>
          </p:nvSpPr>
          <p:spPr>
            <a:xfrm>
              <a:off x="5023773" y="4836014"/>
              <a:ext cx="2076726" cy="318517"/>
            </a:xfrm>
            <a:prstGeom prst="rect">
              <a:avLst/>
            </a:prstGeom>
            <a:noFill/>
            <a:ln w="19050"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24" tIns="45710" rIns="91424" bIns="45710" rtlCol="0" anchor="ctr"/>
            <a:lstStyle/>
            <a:p>
              <a:pPr marL="0" marR="0" lvl="0" indent="0" algn="ctr" defTabSz="91405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4DED8"/>
                </a:solidFill>
                <a:effectLst/>
                <a:uLnTx/>
                <a:uFillTx/>
                <a:latin typeface="Segoe UI"/>
                <a:ea typeface="+mn-ea"/>
                <a:cs typeface="+mn-cs"/>
              </a:endParaRPr>
            </a:p>
          </p:txBody>
        </p:sp>
        <p:sp>
          <p:nvSpPr>
            <p:cNvPr id="13" name="Text Placeholder 13"/>
            <p:cNvSpPr txBox="1">
              <a:spLocks/>
            </p:cNvSpPr>
            <p:nvPr/>
          </p:nvSpPr>
          <p:spPr>
            <a:xfrm>
              <a:off x="5061859" y="4889496"/>
              <a:ext cx="2000555" cy="195011"/>
            </a:xfrm>
            <a:prstGeom prst="rect">
              <a:avLst/>
            </a:prstGeom>
            <a:noFill/>
          </p:spPr>
          <p:txBody>
            <a:bodyPr vert="horz" lIns="91424" tIns="45710" rIns="91424" bIns="45710" rtlCol="0" anchor="ctr">
              <a:noAutofit/>
            </a:bodyPr>
            <a:lstStyle>
              <a:lvl1pPr marL="0" indent="0" algn="ctr" defTabSz="914400" rtl="0" eaLnBrk="1" latinLnBrk="0" hangingPunct="1">
                <a:lnSpc>
                  <a:spcPts val="2000"/>
                </a:lnSpc>
                <a:spcBef>
                  <a:spcPct val="20000"/>
                </a:spcBef>
                <a:buFontTx/>
                <a:buNone/>
                <a:defRPr sz="1600" b="1" kern="1200" spc="300">
                  <a:solidFill>
                    <a:schemeClr val="tx2"/>
                  </a:solidFill>
                  <a:latin typeface="+mn-lt"/>
                  <a:ea typeface="+mn-ea"/>
                  <a:cs typeface="+mn-cs"/>
                </a:defRPr>
              </a:lvl1pPr>
              <a:lvl2pPr marL="457200" indent="0" algn="l" defTabSz="914400" rtl="0" eaLnBrk="1" latinLnBrk="0" hangingPunct="1">
                <a:spcBef>
                  <a:spcPct val="20000"/>
                </a:spcBef>
                <a:buFontTx/>
                <a:buNone/>
                <a:defRPr sz="4400" b="1" u="sng" kern="1200" spc="400" baseline="0">
                  <a:solidFill>
                    <a:srgbClr val="EC5038"/>
                  </a:solidFill>
                  <a:latin typeface="+mn-lt"/>
                  <a:ea typeface="+mn-ea"/>
                  <a:cs typeface="+mn-cs"/>
                </a:defRPr>
              </a:lvl2pPr>
              <a:lvl3pPr marL="914400" indent="0" algn="l" defTabSz="914400" rtl="0" eaLnBrk="1" latinLnBrk="0" hangingPunct="1">
                <a:spcBef>
                  <a:spcPct val="20000"/>
                </a:spcBef>
                <a:buFontTx/>
                <a:buNone/>
                <a:defRPr sz="2000" b="1" i="1" kern="1200">
                  <a:solidFill>
                    <a:schemeClr val="tx2"/>
                  </a:solidFill>
                  <a:latin typeface="+mj-lt"/>
                  <a:ea typeface="+mn-ea"/>
                  <a:cs typeface="+mn-cs"/>
                </a:defRPr>
              </a:lvl3pPr>
              <a:lvl4pPr marL="1371600" indent="0" algn="l" defTabSz="914400" rtl="0" eaLnBrk="1" latinLnBrk="0" hangingPunct="1">
                <a:spcBef>
                  <a:spcPct val="20000"/>
                </a:spcBef>
                <a:buFontTx/>
                <a:buNone/>
                <a:defRPr sz="2000" b="1" i="1" kern="1200" spc="300">
                  <a:solidFill>
                    <a:schemeClr val="accent3"/>
                  </a:solidFill>
                  <a:latin typeface="+mn-lt"/>
                  <a:ea typeface="+mn-ea"/>
                  <a:cs typeface="+mn-cs"/>
                </a:defRPr>
              </a:lvl4pPr>
              <a:lvl5pPr marL="1828800" indent="0" algn="l" defTabSz="914400" rtl="0" eaLnBrk="1" latinLnBrk="0" hangingPunct="1">
                <a:spcBef>
                  <a:spcPct val="20000"/>
                </a:spcBef>
                <a:buFontTx/>
                <a:buNone/>
                <a:defRPr sz="1800" b="1" i="1" kern="1200">
                  <a:solidFill>
                    <a:schemeClr val="tx2"/>
                  </a:solidFill>
                  <a:latin typeface="Graphik Regular" panose="020B0503030202060203"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6386" rtl="0" eaLnBrk="1" fontAlgn="auto" latinLnBrk="0" hangingPunct="1">
                <a:lnSpc>
                  <a:spcPts val="1961"/>
                </a:lnSpc>
                <a:spcBef>
                  <a:spcPct val="20000"/>
                </a:spcBef>
                <a:spcAft>
                  <a:spcPts val="0"/>
                </a:spcAft>
                <a:buClrTx/>
                <a:buSzTx/>
                <a:buFontTx/>
                <a:buNone/>
                <a:tabLst/>
                <a:defRPr/>
              </a:pPr>
              <a:r>
                <a:rPr kumimoji="0" lang="en-US" sz="1100" b="1" i="0" u="none" strike="noStrike" kern="0" cap="none" spc="294" normalizeH="0" baseline="0" noProof="0" dirty="0">
                  <a:ln>
                    <a:noFill/>
                  </a:ln>
                  <a:solidFill>
                    <a:srgbClr val="FBFBFB"/>
                  </a:solidFill>
                  <a:effectLst/>
                  <a:uLnTx/>
                  <a:uFillTx/>
                  <a:latin typeface="Segoe UI"/>
                  <a:ea typeface="+mn-ea"/>
                  <a:cs typeface="+mn-cs"/>
                </a:rPr>
                <a:t>MICROSOFT 2015</a:t>
              </a:r>
            </a:p>
          </p:txBody>
        </p:sp>
      </p:grpSp>
    </p:spTree>
    <p:extLst>
      <p:ext uri="{BB962C8B-B14F-4D97-AF65-F5344CB8AC3E}">
        <p14:creationId xmlns:p14="http://schemas.microsoft.com/office/powerpoint/2010/main" val="392524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tx2"/>
        </a:solidFill>
        <a:effectLst/>
      </p:bgPr>
    </p:bg>
    <p:spTree>
      <p:nvGrpSpPr>
        <p:cNvPr id="1" name=""/>
        <p:cNvGrpSpPr/>
        <p:nvPr/>
      </p:nvGrpSpPr>
      <p:grpSpPr>
        <a:xfrm>
          <a:off x="0" y="0"/>
          <a:ext cx="0" cy="0"/>
          <a:chOff x="0" y="0"/>
          <a:chExt cx="0" cy="0"/>
        </a:xfrm>
      </p:grpSpPr>
      <p:sp>
        <p:nvSpPr>
          <p:cNvPr id="15" name="Picture Placeholder 14"/>
          <p:cNvSpPr>
            <a:spLocks noGrp="1"/>
          </p:cNvSpPr>
          <p:nvPr>
            <p:ph type="pic" sz="quarter" idx="12"/>
          </p:nvPr>
        </p:nvSpPr>
        <p:spPr>
          <a:xfrm>
            <a:off x="0" y="0"/>
            <a:ext cx="12192000" cy="6858000"/>
          </a:xfrm>
        </p:spPr>
        <p:txBody>
          <a:bodyPr/>
          <a:lstStyle/>
          <a:p>
            <a:endParaRPr lang="en-US"/>
          </a:p>
        </p:txBody>
      </p:sp>
      <p:sp>
        <p:nvSpPr>
          <p:cNvPr id="4" name="Text Placeholder 3"/>
          <p:cNvSpPr>
            <a:spLocks noGrp="1"/>
          </p:cNvSpPr>
          <p:nvPr>
            <p:ph type="body" sz="quarter" idx="10" hasCustomPrompt="1"/>
          </p:nvPr>
        </p:nvSpPr>
        <p:spPr>
          <a:xfrm>
            <a:off x="1975303" y="2850925"/>
            <a:ext cx="8200118" cy="914400"/>
          </a:xfrm>
        </p:spPr>
        <p:txBody>
          <a:bodyPr>
            <a:noAutofit/>
          </a:bodyPr>
          <a:lstStyle>
            <a:lvl1pPr algn="ctr">
              <a:defRPr sz="7998" b="1" i="1">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TITLE&gt;</a:t>
            </a:r>
          </a:p>
        </p:txBody>
      </p:sp>
      <p:sp>
        <p:nvSpPr>
          <p:cNvPr id="10" name="Text Placeholder 9"/>
          <p:cNvSpPr>
            <a:spLocks noGrp="1"/>
          </p:cNvSpPr>
          <p:nvPr>
            <p:ph type="body" sz="quarter" idx="11" hasCustomPrompt="1"/>
          </p:nvPr>
        </p:nvSpPr>
        <p:spPr>
          <a:xfrm>
            <a:off x="2941637" y="2438061"/>
            <a:ext cx="6267450" cy="933450"/>
          </a:xfrm>
        </p:spPr>
        <p:txBody>
          <a:bodyPr>
            <a:noAutofit/>
          </a:bodyPr>
          <a:lstStyle>
            <a:lvl1pPr algn="ctr">
              <a:defRPr sz="3600" spc="600">
                <a:solidFill>
                  <a:schemeClr val="accent1"/>
                </a:solidFill>
                <a:latin typeface="+mn-lt"/>
              </a:defRPr>
            </a:lvl1pPr>
            <a:lvl2pPr>
              <a:defRPr sz="3600">
                <a:solidFill>
                  <a:schemeClr val="accent1"/>
                </a:solidFill>
                <a:latin typeface="+mn-lt"/>
              </a:defRPr>
            </a:lvl2pPr>
            <a:lvl3pPr>
              <a:defRPr sz="3600">
                <a:solidFill>
                  <a:schemeClr val="accent1"/>
                </a:solidFill>
                <a:latin typeface="+mn-lt"/>
              </a:defRPr>
            </a:lvl3pPr>
            <a:lvl4pPr>
              <a:defRPr sz="3600">
                <a:solidFill>
                  <a:schemeClr val="accent1"/>
                </a:solidFill>
                <a:latin typeface="+mn-lt"/>
              </a:defRPr>
            </a:lvl4pPr>
            <a:lvl5pPr>
              <a:defRPr sz="3600">
                <a:solidFill>
                  <a:schemeClr val="accent1"/>
                </a:solidFill>
                <a:latin typeface="+mn-lt"/>
              </a:defRPr>
            </a:lvl5pPr>
          </a:lstStyle>
          <a:p>
            <a:pPr lvl="0"/>
            <a:r>
              <a:rPr lang="en-US" dirty="0"/>
              <a:t>&lt;NAME&gt;</a:t>
            </a:r>
          </a:p>
        </p:txBody>
      </p:sp>
    </p:spTree>
    <p:extLst>
      <p:ext uri="{BB962C8B-B14F-4D97-AF65-F5344CB8AC3E}">
        <p14:creationId xmlns:p14="http://schemas.microsoft.com/office/powerpoint/2010/main" val="303751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ustom Layout">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70403" y="2662238"/>
            <a:ext cx="10668454" cy="914400"/>
          </a:xfrm>
        </p:spPr>
        <p:txBody>
          <a:bodyPr>
            <a:noAutofit/>
          </a:bodyPr>
          <a:lstStyle>
            <a:lvl1pPr algn="l">
              <a:defRPr sz="7998" b="0" i="0">
                <a:solidFill>
                  <a:schemeClr val="accent1"/>
                </a:solidFill>
                <a:latin typeface="+mj-lt"/>
              </a:defRPr>
            </a:lvl1pPr>
            <a:lvl2pPr>
              <a:defRPr sz="8798">
                <a:solidFill>
                  <a:schemeClr val="accent1"/>
                </a:solidFill>
                <a:latin typeface="+mj-lt"/>
              </a:defRPr>
            </a:lvl2pPr>
            <a:lvl3pPr>
              <a:defRPr sz="8798">
                <a:solidFill>
                  <a:schemeClr val="accent1"/>
                </a:solidFill>
                <a:latin typeface="+mj-lt"/>
              </a:defRPr>
            </a:lvl3pPr>
            <a:lvl4pPr>
              <a:defRPr sz="8798">
                <a:solidFill>
                  <a:schemeClr val="accent1"/>
                </a:solidFill>
                <a:latin typeface="+mj-lt"/>
              </a:defRPr>
            </a:lvl4pPr>
            <a:lvl5pPr>
              <a:defRPr sz="8798">
                <a:solidFill>
                  <a:schemeClr val="accent1"/>
                </a:solidFill>
                <a:latin typeface="+mj-lt"/>
              </a:defRPr>
            </a:lvl5pPr>
          </a:lstStyle>
          <a:p>
            <a:pPr lvl="0"/>
            <a:r>
              <a:rPr lang="en-US" dirty="0"/>
              <a:t>&lt;Section title&gt;</a:t>
            </a:r>
          </a:p>
        </p:txBody>
      </p:sp>
    </p:spTree>
    <p:extLst>
      <p:ext uri="{BB962C8B-B14F-4D97-AF65-F5344CB8AC3E}">
        <p14:creationId xmlns:p14="http://schemas.microsoft.com/office/powerpoint/2010/main" val="347752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2859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359052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808732" y="2518569"/>
            <a:ext cx="6574536" cy="1325563"/>
          </a:xfrm>
        </p:spPr>
        <p:txBody>
          <a:bodyPr anchor="b">
            <a:normAutofit/>
          </a:bodyPr>
          <a:lstStyle>
            <a:lvl1pPr>
              <a:lnSpc>
                <a:spcPts val="3800"/>
              </a:lnSpc>
              <a:defRPr sz="2800" spc="400" baseline="0">
                <a:solidFill>
                  <a:schemeClr val="accent1"/>
                </a:solidFill>
                <a:latin typeface="+mn-lt"/>
              </a:defRPr>
            </a:lvl1pPr>
          </a:lstStyle>
          <a:p>
            <a:r>
              <a:rPr lang="en-US" dirty="0"/>
              <a:t>&lt;QUOTE&gt;</a:t>
            </a:r>
          </a:p>
        </p:txBody>
      </p:sp>
      <p:sp>
        <p:nvSpPr>
          <p:cNvPr id="7" name="Text Placeholder 4"/>
          <p:cNvSpPr>
            <a:spLocks noGrp="1"/>
          </p:cNvSpPr>
          <p:nvPr>
            <p:ph type="body" sz="quarter" idx="10" hasCustomPrompt="1"/>
          </p:nvPr>
        </p:nvSpPr>
        <p:spPr>
          <a:xfrm>
            <a:off x="3933825" y="4208066"/>
            <a:ext cx="4324350" cy="344884"/>
          </a:xfrm>
        </p:spPr>
        <p:txBody>
          <a:bodyPr/>
          <a:lstStyle>
            <a:lvl1pPr algn="ctr">
              <a:defRPr sz="1600" b="1" spc="300">
                <a:solidFill>
                  <a:schemeClr val="accent2">
                    <a:lumMod val="40000"/>
                    <a:lumOff val="60000"/>
                  </a:schemeClr>
                </a:solidFill>
                <a:latin typeface="+mn-lt"/>
              </a:defRPr>
            </a:lvl1pPr>
            <a:lvl2pPr>
              <a:defRPr>
                <a:solidFill>
                  <a:schemeClr val="accent2">
                    <a:lumMod val="40000"/>
                    <a:lumOff val="60000"/>
                  </a:schemeClr>
                </a:solidFill>
              </a:defRPr>
            </a:lvl2pPr>
            <a:lvl3pPr>
              <a:defRPr>
                <a:solidFill>
                  <a:schemeClr val="accent2">
                    <a:lumMod val="40000"/>
                    <a:lumOff val="60000"/>
                  </a:schemeClr>
                </a:solidFill>
              </a:defRPr>
            </a:lvl3pPr>
            <a:lvl4pPr>
              <a:defRPr>
                <a:solidFill>
                  <a:schemeClr val="accent2">
                    <a:lumMod val="40000"/>
                    <a:lumOff val="60000"/>
                  </a:schemeClr>
                </a:solidFill>
              </a:defRPr>
            </a:lvl4pPr>
            <a:lvl5pPr>
              <a:defRPr>
                <a:solidFill>
                  <a:schemeClr val="accent2">
                    <a:lumMod val="40000"/>
                    <a:lumOff val="60000"/>
                  </a:schemeClr>
                </a:solidFill>
              </a:defRPr>
            </a:lvl5pPr>
          </a:lstStyle>
          <a:p>
            <a:pPr lvl="0"/>
            <a:r>
              <a:rPr lang="en-US" dirty="0"/>
              <a:t>&lt;NAME&gt;</a:t>
            </a:r>
          </a:p>
        </p:txBody>
      </p:sp>
    </p:spTree>
    <p:extLst>
      <p:ext uri="{BB962C8B-B14F-4D97-AF65-F5344CB8AC3E}">
        <p14:creationId xmlns:p14="http://schemas.microsoft.com/office/powerpoint/2010/main" val="268559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66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3_Custom Layout">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94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18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367"/>
            <a:fld id="{A284A322-D123-4E23-A801-034D45EAB541}" type="datetimeFigureOut">
              <a:rPr lang="en-US" sz="1765" smtClean="0">
                <a:solidFill>
                  <a:srgbClr val="EC5038"/>
                </a:solidFill>
              </a:rPr>
              <a:pPr defTabSz="914367"/>
              <a:t>10/5/2016</a:t>
            </a:fld>
            <a:endParaRPr lang="en-US" sz="1765" dirty="0">
              <a:solidFill>
                <a:srgbClr val="EC5038"/>
              </a:solidFill>
            </a:endParaRPr>
          </a:p>
        </p:txBody>
      </p:sp>
      <p:sp>
        <p:nvSpPr>
          <p:cNvPr id="3" name="Footer Placeholder 2"/>
          <p:cNvSpPr>
            <a:spLocks noGrp="1"/>
          </p:cNvSpPr>
          <p:nvPr>
            <p:ph type="ftr" sz="quarter" idx="11"/>
          </p:nvPr>
        </p:nvSpPr>
        <p:spPr/>
        <p:txBody>
          <a:bodyPr/>
          <a:lstStyle/>
          <a:p>
            <a:pPr defTabSz="914367"/>
            <a:endParaRPr lang="en-US" sz="1765" dirty="0">
              <a:solidFill>
                <a:srgbClr val="EC5038"/>
              </a:solidFill>
            </a:endParaRPr>
          </a:p>
        </p:txBody>
      </p:sp>
      <p:sp>
        <p:nvSpPr>
          <p:cNvPr id="4" name="Slide Number Placeholder 3"/>
          <p:cNvSpPr>
            <a:spLocks noGrp="1"/>
          </p:cNvSpPr>
          <p:nvPr>
            <p:ph type="sldNum" sz="quarter" idx="12"/>
          </p:nvPr>
        </p:nvSpPr>
        <p:spPr/>
        <p:txBody>
          <a:bodyPr/>
          <a:lstStyle/>
          <a:p>
            <a:pPr defTabSz="914367"/>
            <a:fld id="{38EC6C40-5275-415C-92DC-4CF24D05B2C9}" type="slidenum">
              <a:rPr lang="en-US" sz="1765" smtClean="0">
                <a:solidFill>
                  <a:srgbClr val="EC5038"/>
                </a:solidFill>
              </a:rPr>
              <a:pPr defTabSz="914367"/>
              <a:t>‹#›</a:t>
            </a:fld>
            <a:endParaRPr lang="en-US" sz="1765" dirty="0">
              <a:solidFill>
                <a:srgbClr val="EC5038"/>
              </a:solidFill>
            </a:endParaRPr>
          </a:p>
        </p:txBody>
      </p:sp>
    </p:spTree>
    <p:extLst>
      <p:ext uri="{BB962C8B-B14F-4D97-AF65-F5344CB8AC3E}">
        <p14:creationId xmlns:p14="http://schemas.microsoft.com/office/powerpoint/2010/main" val="249936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542896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1"/>
            <a:ext cx="12192000" cy="6855744"/>
          </a:xfrm>
          <a:prstGeom prst="rect">
            <a:avLst/>
          </a:prstGeom>
        </p:spPr>
      </p:pic>
      <p:sp>
        <p:nvSpPr>
          <p:cNvPr id="6" name="Rectangle 5"/>
          <p:cNvSpPr/>
          <p:nvPr userDrawn="1"/>
        </p:nvSpPr>
        <p:spPr>
          <a:xfrm>
            <a:off x="0" y="0"/>
            <a:ext cx="5029201"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Segoe UI"/>
              <a:ea typeface="+mn-ea"/>
              <a:cs typeface="+mn-cs"/>
            </a:endParaRPr>
          </a:p>
        </p:txBody>
      </p:sp>
      <p:sp>
        <p:nvSpPr>
          <p:cNvPr id="2" name="TextBox 1"/>
          <p:cNvSpPr txBox="1"/>
          <p:nvPr userDrawn="1"/>
        </p:nvSpPr>
        <p:spPr>
          <a:xfrm>
            <a:off x="273203" y="1873406"/>
            <a:ext cx="4683513" cy="490654"/>
          </a:xfrm>
          <a:prstGeom prst="rect">
            <a:avLst/>
          </a:prstGeom>
          <a:noFill/>
        </p:spPr>
        <p:txBody>
          <a:bodyPr vert="horz" wrap="square" lIns="91427" tIns="91427" rIns="91427" bIns="91427" rtlCol="0" anchor="t">
            <a:noAutofit/>
          </a:bodyPr>
          <a:lstStyle/>
          <a:p>
            <a:pPr marL="0" marR="0" lvl="0" indent="0" algn="l" defTabSz="1087869"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000" b="0" i="0" u="none" strike="noStrike" kern="1200" cap="all" spc="600" normalizeH="0" baseline="0" noProof="0" dirty="0">
                <a:ln>
                  <a:noFill/>
                </a:ln>
                <a:solidFill>
                  <a:srgbClr val="FFFFFF"/>
                </a:solidFill>
                <a:effectLst/>
                <a:uLnTx/>
                <a:uFillTx/>
                <a:latin typeface="Segoe UI"/>
                <a:ea typeface="Segoe UI" pitchFamily="34" charset="0"/>
                <a:cs typeface="Segoe UI" pitchFamily="34" charset="0"/>
              </a:rPr>
              <a:t>MODERN WORKPLACE</a:t>
            </a:r>
          </a:p>
        </p:txBody>
      </p:sp>
      <p:sp>
        <p:nvSpPr>
          <p:cNvPr id="9" name="Title 1"/>
          <p:cNvSpPr>
            <a:spLocks noGrp="1"/>
          </p:cNvSpPr>
          <p:nvPr>
            <p:ph type="title" hasCustomPrompt="1"/>
          </p:nvPr>
        </p:nvSpPr>
        <p:spPr bwMode="ltGray">
          <a:xfrm>
            <a:off x="228600" y="2419816"/>
            <a:ext cx="4633333" cy="1929181"/>
          </a:xfrm>
          <a:noFill/>
        </p:spPr>
        <p:txBody>
          <a:bodyPr vert="horz" lIns="137160" tIns="91440" rIns="91440" bIns="0" rtlCol="0" anchor="b" anchorCtr="0">
            <a:normAutofit/>
          </a:bodyPr>
          <a:lstStyle>
            <a:lvl1pPr marL="0" algn="l" defTabSz="1087869" rtl="0" eaLnBrk="1" latinLnBrk="0" hangingPunct="1">
              <a:lnSpc>
                <a:spcPct val="90000"/>
              </a:lnSpc>
              <a:spcBef>
                <a:spcPct val="0"/>
              </a:spcBef>
              <a:buNone/>
              <a:defRPr lang="en-US" sz="4800" b="1" kern="1200" cap="all" spc="-100" baseline="0" dirty="0">
                <a:solidFill>
                  <a:schemeClr val="accent1"/>
                </a:solidFill>
                <a:latin typeface="+mn-lt"/>
                <a:ea typeface="Segoe UI Semibold" panose="020B0702040204020203" pitchFamily="34" charset="0"/>
                <a:cs typeface="Segoe UI Semibold" panose="020B07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411563" y="5778121"/>
            <a:ext cx="3784600" cy="889380"/>
          </a:xfrm>
        </p:spPr>
        <p:txBody>
          <a:bodyPr lIns="137160" tIns="91440" rIns="137160" bIns="137160" anchor="b">
            <a:noAutofit/>
          </a:bodyPr>
          <a:lstStyle>
            <a:lvl1pPr marL="0" indent="0" algn="l">
              <a:spcBef>
                <a:spcPts val="0"/>
              </a:spcBef>
              <a:buNone/>
              <a:defRPr sz="1400">
                <a:solidFill>
                  <a:schemeClr val="bg1"/>
                </a:solidFill>
              </a:defRPr>
            </a:lvl1pPr>
            <a:lvl2pPr marL="281614" indent="0">
              <a:buNone/>
              <a:defRPr sz="2000">
                <a:solidFill>
                  <a:schemeClr val="bg1"/>
                </a:solidFill>
              </a:defRPr>
            </a:lvl2pPr>
            <a:lvl3pPr marL="588348" indent="0">
              <a:buNone/>
              <a:defRPr sz="2000">
                <a:solidFill>
                  <a:schemeClr val="bg1"/>
                </a:solidFill>
              </a:defRPr>
            </a:lvl3pPr>
            <a:lvl4pPr marL="869962" indent="0">
              <a:buNone/>
              <a:defRPr sz="2000">
                <a:solidFill>
                  <a:schemeClr val="bg1"/>
                </a:solidFill>
              </a:defRPr>
            </a:lvl4pPr>
            <a:lvl5pPr marL="1105300" indent="0">
              <a:buNone/>
              <a:defRPr sz="2000">
                <a:solidFill>
                  <a:schemeClr val="bg1"/>
                </a:solidFill>
              </a:defRPr>
            </a:lvl5pPr>
          </a:lstStyle>
          <a:p>
            <a:pPr lvl="0"/>
            <a:r>
              <a:rPr lang="en-US" dirty="0"/>
              <a:t>Speaker Name</a:t>
            </a:r>
          </a:p>
          <a:p>
            <a:pPr lvl="0"/>
            <a:r>
              <a:rPr lang="en-US" dirty="0"/>
              <a:t>Date</a:t>
            </a:r>
          </a:p>
        </p:txBody>
      </p:sp>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61928" y="247933"/>
            <a:ext cx="1737792" cy="639069"/>
          </a:xfrm>
          <a:prstGeom prst="rect">
            <a:avLst/>
          </a:prstGeom>
        </p:spPr>
      </p:pic>
    </p:spTree>
    <p:extLst>
      <p:ext uri="{BB962C8B-B14F-4D97-AF65-F5344CB8AC3E}">
        <p14:creationId xmlns:p14="http://schemas.microsoft.com/office/powerpoint/2010/main" val="1500043348"/>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 name="Slide Number Placeholder 3"/>
          <p:cNvSpPr>
            <a:spLocks noGrp="1"/>
          </p:cNvSpPr>
          <p:nvPr>
            <p:ph type="sldNum" sz="quarter" idx="11"/>
          </p:nvPr>
        </p:nvSpPr>
        <p:spPr/>
        <p:txBody>
          <a:bodyPr/>
          <a:lstStyle/>
          <a:p>
            <a:pPr marL="0" marR="0" lvl="0" indent="0" algn="r" defTabSz="1087869"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7869"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600" y="1600200"/>
            <a:ext cx="5408613" cy="4876800"/>
          </a:xfrm>
        </p:spPr>
        <p:txBody>
          <a:bodyPr r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824021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marL="0" marR="0" lvl="0" indent="0" algn="r" defTabSz="1087869"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7869"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Footer Placeholder 2"/>
          <p:cNvSpPr>
            <a:spLocks noGrp="1"/>
          </p:cNvSpPr>
          <p:nvPr>
            <p:ph type="ftr" sz="quarter" idx="10"/>
          </p:nvPr>
        </p:nvSpPr>
        <p:spPr>
          <a:xfrm>
            <a:off x="228600" y="6553201"/>
            <a:ext cx="5865814" cy="304801"/>
          </a:xfrm>
        </p:spPr>
        <p: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6" name="Picture Placeholder 5"/>
          <p:cNvSpPr>
            <a:spLocks noGrp="1"/>
          </p:cNvSpPr>
          <p:nvPr>
            <p:ph type="pic" sz="quarter" idx="12"/>
          </p:nvPr>
        </p:nvSpPr>
        <p:spPr>
          <a:xfrm>
            <a:off x="1"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166268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89627861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
        <p:nvSpPr>
          <p:cNvPr id="13" name="Media Placeholder 8"/>
          <p:cNvSpPr>
            <a:spLocks noGrp="1"/>
          </p:cNvSpPr>
          <p:nvPr>
            <p:ph type="media" sz="quarter" idx="11" hasCustomPrompt="1"/>
          </p:nvPr>
        </p:nvSpPr>
        <p:spPr>
          <a:xfrm>
            <a:off x="3268664" y="1135893"/>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97217515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20" name="Footer Placeholder 19"/>
          <p:cNvSpPr>
            <a:spLocks noGrp="1"/>
          </p:cNvSpPr>
          <p:nvPr>
            <p:ph type="ftr" sz="quarter" idx="16"/>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230228012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3" name="Slide Number Placeholder 2"/>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405895993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1"/>
            <a:ext cx="11201400" cy="3048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dirty="0">
              <a:ln>
                <a:noFill/>
              </a:ln>
              <a:solidFill>
                <a:srgbClr val="737373"/>
              </a:solidFill>
              <a:effectLst/>
              <a:uLnTx/>
              <a:uFillTx/>
              <a:latin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9" name="Content Placeholder 8"/>
          <p:cNvSpPr>
            <a:spLocks noGrp="1"/>
          </p:cNvSpPr>
          <p:nvPr>
            <p:ph sz="quarter" idx="13"/>
          </p:nvPr>
        </p:nvSpPr>
        <p:spPr>
          <a:xfrm>
            <a:off x="228600" y="1597152"/>
            <a:ext cx="3840480" cy="3254248"/>
          </a:xfrm>
        </p:spPr>
        <p:txBody>
          <a:bodyPr lIns="137160" rIns="137160" bIns="137160">
            <a:normAutofit/>
          </a:bodyPr>
          <a:lstStyle>
            <a:lvl1pPr>
              <a:lnSpc>
                <a:spcPct val="100000"/>
              </a:lnSpc>
              <a:spcAft>
                <a:spcPts val="1200"/>
              </a:spcAft>
              <a:defRPr sz="2353"/>
            </a:lvl1pPr>
            <a:lvl2pPr>
              <a:lnSpc>
                <a:spcPct val="100000"/>
              </a:lnSpc>
              <a:spcAft>
                <a:spcPts val="1200"/>
              </a:spcAft>
              <a:defRPr sz="1765"/>
            </a:lvl2pPr>
            <a:lvl3pPr>
              <a:lnSpc>
                <a:spcPct val="100000"/>
              </a:lnSpc>
              <a:spcAft>
                <a:spcPts val="1200"/>
              </a:spcAft>
              <a:defRPr sz="1568"/>
            </a:lvl3pPr>
            <a:lvl4pPr>
              <a:lnSpc>
                <a:spcPct val="100000"/>
              </a:lnSpc>
              <a:spcAft>
                <a:spcPts val="1200"/>
              </a:spcAft>
              <a:defRPr sz="1372"/>
            </a:lvl4pPr>
            <a:lvl5pPr>
              <a:lnSpc>
                <a:spcPct val="100000"/>
              </a:lnSpc>
              <a:spcAft>
                <a:spcPts val="1200"/>
              </a:spcAft>
              <a:defRPr sz="1372"/>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Tree>
    <p:extLst>
      <p:ext uri="{BB962C8B-B14F-4D97-AF65-F5344CB8AC3E}">
        <p14:creationId xmlns:p14="http://schemas.microsoft.com/office/powerpoint/2010/main" val="255247660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729ABE-044A-472F-86F1-BEFBB904A5C9}" type="slidenum">
              <a:rPr kumimoji="0" lang="en-US" sz="800" b="0" i="0" u="none" strike="noStrike" kern="1200" cap="none" spc="0" normalizeH="0" baseline="0" noProof="0" smtClean="0">
                <a:ln>
                  <a:noFill/>
                </a:ln>
                <a:solidFill>
                  <a:srgbClr val="737373"/>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737373"/>
              </a:solidFill>
              <a:effectLst/>
              <a:uLnTx/>
              <a:uFillTx/>
              <a:latin typeface="Segoe UI" pitchFamily="34" charset="0"/>
              <a:cs typeface="Segoe UI" pitchFamily="34" charset="0"/>
            </a:endParaRPr>
          </a:p>
        </p:txBody>
      </p:sp>
      <p:sp>
        <p:nvSpPr>
          <p:cNvPr id="11" name="Content Placeholder 8"/>
          <p:cNvSpPr>
            <a:spLocks noGrp="1"/>
          </p:cNvSpPr>
          <p:nvPr>
            <p:ph sz="quarter" idx="13"/>
          </p:nvPr>
        </p:nvSpPr>
        <p:spPr>
          <a:xfrm>
            <a:off x="22859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1"/>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531422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7718" y="584200"/>
            <a:ext cx="9113283" cy="5689600"/>
          </a:xfrm>
          <a:prstGeom prst="rect">
            <a:avLst/>
          </a:prstGeom>
        </p:spPr>
      </p:pic>
      <p:sp>
        <p:nvSpPr>
          <p:cNvPr id="13" name="Media Placeholder 8"/>
          <p:cNvSpPr>
            <a:spLocks noGrp="1"/>
          </p:cNvSpPr>
          <p:nvPr>
            <p:ph type="media" sz="quarter" idx="11" hasCustomPrompt="1"/>
          </p:nvPr>
        </p:nvSpPr>
        <p:spPr>
          <a:xfrm>
            <a:off x="3268664" y="1135893"/>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50735366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0" y="2209800"/>
            <a:ext cx="7969039" cy="4648200"/>
          </a:xfrm>
          <a:prstGeom prst="rect">
            <a:avLst/>
          </a:prstGeom>
        </p:spPr>
      </p:pic>
      <p:sp>
        <p:nvSpPr>
          <p:cNvPr id="10" name="Picture Placeholder 9"/>
          <p:cNvSpPr>
            <a:spLocks noGrp="1"/>
          </p:cNvSpPr>
          <p:nvPr>
            <p:ph type="pic" sz="quarter" idx="10" hasCustomPrompt="1"/>
          </p:nvPr>
        </p:nvSpPr>
        <p:spPr>
          <a:xfrm>
            <a:off x="1" y="2750821"/>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428782600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1173274011"/>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6620157"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000000">
              <a:alpha val="70000"/>
            </a:srgbClr>
          </a:solidFill>
        </p:spPr>
        <p:txBody>
          <a:bodyPr lIns="365760" tIns="137160" rIns="137160" bIns="1097280" anchor="b" anchorCtr="0">
            <a:noAutofit/>
          </a:bodyPr>
          <a:lstStyle>
            <a:lvl1pPr>
              <a:defRPr sz="5998"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78314"/>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63755961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6620157"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chemeClr val="accent1">
              <a:alpha val="88000"/>
            </a:schemeClr>
          </a:solidFill>
        </p:spPr>
        <p:txBody>
          <a:bodyPr lIns="365760" tIns="137160" rIns="137160" bIns="1097280" anchor="b" anchorCtr="0">
            <a:noAutofit/>
          </a:bodyPr>
          <a:lstStyle>
            <a:lvl1pPr>
              <a:defRPr sz="5998"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78314"/>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244688956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Section Title w/black overl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892"/>
            <a:ext cx="7899401" cy="68923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0">
                <a:moveTo>
                  <a:pt x="0" y="10"/>
                </a:moveTo>
                <a:lnTo>
                  <a:pt x="5302" y="0"/>
                </a:lnTo>
                <a:lnTo>
                  <a:pt x="10000" y="10010"/>
                </a:lnTo>
                <a:lnTo>
                  <a:pt x="0" y="9983"/>
                </a:lnTo>
                <a:lnTo>
                  <a:pt x="0" y="10"/>
                </a:lnTo>
                <a:close/>
              </a:path>
            </a:pathLst>
          </a:custGeom>
          <a:solidFill>
            <a:srgbClr val="FFFFFF">
              <a:alpha val="80000"/>
            </a:srgbClr>
          </a:solidFill>
        </p:spPr>
        <p:txBody>
          <a:bodyPr lIns="365760" tIns="137160" rIns="137160" bIns="1097280" anchor="b" anchorCtr="0">
            <a:noAutofit/>
          </a:bodyPr>
          <a:lstStyle>
            <a:lvl1pPr>
              <a:defRPr sz="5998" spc="-100" baseline="0">
                <a:solidFill>
                  <a:schemeClr val="tx2"/>
                </a:solidFill>
              </a:defRPr>
            </a:lvl1pPr>
          </a:lstStyle>
          <a:p>
            <a:r>
              <a:rPr lang="en-US" dirty="0"/>
              <a:t> </a:t>
            </a:r>
          </a:p>
        </p:txBody>
      </p:sp>
      <p:sp>
        <p:nvSpPr>
          <p:cNvPr id="5" name="Picture Placeholder 4"/>
          <p:cNvSpPr>
            <a:spLocks noGrp="1"/>
          </p:cNvSpPr>
          <p:nvPr>
            <p:ph type="pic" sz="quarter" idx="10" hasCustomPrompt="1"/>
          </p:nvPr>
        </p:nvSpPr>
        <p:spPr>
          <a:xfrm>
            <a:off x="0" y="-20313"/>
            <a:ext cx="12192000" cy="6878314"/>
          </a:xfrm>
        </p:spPr>
        <p:txBody>
          <a:bodyPr/>
          <a:lstStyle>
            <a:lvl1pPr>
              <a:defRPr baseline="0">
                <a:solidFill>
                  <a:schemeClr val="tx2"/>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17766383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image" Target="../media/image7.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heme" Target="../theme/theme4.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5.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theme" Target="../theme/theme6.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1066460"/>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Tree>
    <p:extLst>
      <p:ext uri="{BB962C8B-B14F-4D97-AF65-F5344CB8AC3E}">
        <p14:creationId xmlns:p14="http://schemas.microsoft.com/office/powerpoint/2010/main" val="8603406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785" r:id="rId18"/>
  </p:sldLayoutIdLst>
  <p:transition>
    <p:fade/>
  </p:transition>
  <p:hf hdr="0" ftr="0" dt="0"/>
  <p:txStyles>
    <p:titleStyle>
      <a:lvl1pPr marL="0" algn="l" defTabSz="1087869" rtl="0" eaLnBrk="1" latinLnBrk="0" hangingPunct="1">
        <a:lnSpc>
          <a:spcPct val="90000"/>
        </a:lnSpc>
        <a:spcBef>
          <a:spcPct val="0"/>
        </a:spcBef>
        <a:buNone/>
        <a:defRPr lang="en-US" sz="4705"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353"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765"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568"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7"/>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207727785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Lst>
  <p:txStyles>
    <p:titleStyle>
      <a:lvl1pPr algn="ctr" defTabSz="914228" rtl="0" eaLnBrk="1" latinLnBrk="0" hangingPunct="1">
        <a:spcBef>
          <a:spcPct val="0"/>
        </a:spcBef>
        <a:buNone/>
        <a:defRPr lang="en-US" sz="8000" b="1" i="1" u="none" kern="1200" spc="0" baseline="0" dirty="0" smtClean="0">
          <a:solidFill>
            <a:schemeClr val="accent1"/>
          </a:solidFill>
          <a:latin typeface="+mj-lt"/>
          <a:ea typeface="+mn-ea"/>
          <a:cs typeface="+mn-cs"/>
        </a:defRPr>
      </a:lvl1pPr>
    </p:titleStyle>
    <p:bodyStyle>
      <a:lvl1pPr marL="0" indent="0" algn="l" defTabSz="914228" rtl="0" eaLnBrk="1" latinLnBrk="0" hangingPunct="1">
        <a:spcBef>
          <a:spcPct val="20000"/>
        </a:spcBef>
        <a:buFontTx/>
        <a:buNone/>
        <a:defRPr sz="3200" kern="1200">
          <a:solidFill>
            <a:schemeClr val="tx1"/>
          </a:solidFill>
          <a:latin typeface="+mn-lt"/>
          <a:ea typeface="+mn-ea"/>
          <a:cs typeface="+mn-cs"/>
        </a:defRPr>
      </a:lvl1pPr>
      <a:lvl2pPr marL="457114" indent="0" algn="l" defTabSz="914228" rtl="0" eaLnBrk="1" latinLnBrk="0" hangingPunct="1">
        <a:spcBef>
          <a:spcPct val="20000"/>
        </a:spcBef>
        <a:buFontTx/>
        <a:buNone/>
        <a:defRPr sz="8000" b="1" i="1" u="none" kern="1200" spc="0" baseline="0">
          <a:solidFill>
            <a:schemeClr val="accent1"/>
          </a:solidFill>
          <a:latin typeface="+mj-lt"/>
          <a:ea typeface="+mn-ea"/>
          <a:cs typeface="+mn-cs"/>
        </a:defRPr>
      </a:lvl2pPr>
      <a:lvl3pPr marL="914228" indent="0" algn="l" defTabSz="914228" rtl="0" eaLnBrk="1" latinLnBrk="0" hangingPunct="1">
        <a:spcBef>
          <a:spcPct val="20000"/>
        </a:spcBef>
        <a:buFontTx/>
        <a:buNone/>
        <a:defRPr sz="2400" b="1" i="0" u="sng" kern="1200">
          <a:solidFill>
            <a:schemeClr val="accent2"/>
          </a:solidFill>
          <a:latin typeface="+mn-lt"/>
          <a:ea typeface="+mn-ea"/>
          <a:cs typeface="+mn-cs"/>
        </a:defRPr>
      </a:lvl3pPr>
      <a:lvl4pPr marL="1371342" indent="0" algn="l" defTabSz="914228" rtl="0" eaLnBrk="1" latinLnBrk="0" hangingPunct="1">
        <a:spcBef>
          <a:spcPct val="20000"/>
        </a:spcBef>
        <a:buFontTx/>
        <a:buNone/>
        <a:defRPr sz="1100" b="0" i="0" kern="1200" spc="30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8" rtl="0" eaLnBrk="1" latinLnBrk="0" hangingPunct="1">
        <a:defRPr sz="18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33"/>
          <a:stretch>
            <a:fillRect/>
          </a:stretch>
        </p:blipFill>
        <p:spPr>
          <a:xfrm rot="5400000">
            <a:off x="9208749" y="2991036"/>
            <a:ext cx="6858623" cy="876557"/>
          </a:xfrm>
          <a:prstGeom prst="rect">
            <a:avLst/>
          </a:prstGeom>
        </p:spPr>
      </p:pic>
    </p:spTree>
    <p:extLst>
      <p:ext uri="{BB962C8B-B14F-4D97-AF65-F5344CB8AC3E}">
        <p14:creationId xmlns:p14="http://schemas.microsoft.com/office/powerpoint/2010/main" val="193046762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Lst>
  <p:transition>
    <p:fade/>
  </p:transition>
  <p:txStyles>
    <p:titleStyle>
      <a:lvl1pPr algn="l" defTabSz="913918"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8"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29" algn="l" defTabSz="913918"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952"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8"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27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2"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1"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79" algn="l" defTabSz="913918"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8" rtl="0" eaLnBrk="1" latinLnBrk="0" hangingPunct="1">
        <a:defRPr sz="1764" kern="1200">
          <a:solidFill>
            <a:schemeClr val="tx1"/>
          </a:solidFill>
          <a:latin typeface="+mn-lt"/>
          <a:ea typeface="+mn-ea"/>
          <a:cs typeface="+mn-cs"/>
        </a:defRPr>
      </a:lvl1pPr>
      <a:lvl2pPr marL="456958" algn="l" defTabSz="913918" rtl="0" eaLnBrk="1" latinLnBrk="0" hangingPunct="1">
        <a:defRPr sz="1764" kern="1200">
          <a:solidFill>
            <a:schemeClr val="tx1"/>
          </a:solidFill>
          <a:latin typeface="+mn-lt"/>
          <a:ea typeface="+mn-ea"/>
          <a:cs typeface="+mn-cs"/>
        </a:defRPr>
      </a:lvl2pPr>
      <a:lvl3pPr marL="913918" algn="l" defTabSz="913918" rtl="0" eaLnBrk="1" latinLnBrk="0" hangingPunct="1">
        <a:defRPr sz="1764" kern="1200">
          <a:solidFill>
            <a:schemeClr val="tx1"/>
          </a:solidFill>
          <a:latin typeface="+mn-lt"/>
          <a:ea typeface="+mn-ea"/>
          <a:cs typeface="+mn-cs"/>
        </a:defRPr>
      </a:lvl3pPr>
      <a:lvl4pPr marL="1370876" algn="l" defTabSz="913918" rtl="0" eaLnBrk="1" latinLnBrk="0" hangingPunct="1">
        <a:defRPr sz="1764" kern="1200">
          <a:solidFill>
            <a:schemeClr val="tx1"/>
          </a:solidFill>
          <a:latin typeface="+mn-lt"/>
          <a:ea typeface="+mn-ea"/>
          <a:cs typeface="+mn-cs"/>
        </a:defRPr>
      </a:lvl4pPr>
      <a:lvl5pPr marL="1827834" algn="l" defTabSz="913918" rtl="0" eaLnBrk="1" latinLnBrk="0" hangingPunct="1">
        <a:defRPr sz="1764" kern="1200">
          <a:solidFill>
            <a:schemeClr val="tx1"/>
          </a:solidFill>
          <a:latin typeface="+mn-lt"/>
          <a:ea typeface="+mn-ea"/>
          <a:cs typeface="+mn-cs"/>
        </a:defRPr>
      </a:lvl5pPr>
      <a:lvl6pPr marL="2284793" algn="l" defTabSz="913918" rtl="0" eaLnBrk="1" latinLnBrk="0" hangingPunct="1">
        <a:defRPr sz="1764" kern="1200">
          <a:solidFill>
            <a:schemeClr val="tx1"/>
          </a:solidFill>
          <a:latin typeface="+mn-lt"/>
          <a:ea typeface="+mn-ea"/>
          <a:cs typeface="+mn-cs"/>
        </a:defRPr>
      </a:lvl6pPr>
      <a:lvl7pPr marL="2741752" algn="l" defTabSz="913918" rtl="0" eaLnBrk="1" latinLnBrk="0" hangingPunct="1">
        <a:defRPr sz="1764" kern="1200">
          <a:solidFill>
            <a:schemeClr val="tx1"/>
          </a:solidFill>
          <a:latin typeface="+mn-lt"/>
          <a:ea typeface="+mn-ea"/>
          <a:cs typeface="+mn-cs"/>
        </a:defRPr>
      </a:lvl7pPr>
      <a:lvl8pPr marL="3198710" algn="l" defTabSz="913918" rtl="0" eaLnBrk="1" latinLnBrk="0" hangingPunct="1">
        <a:defRPr sz="1764" kern="1200">
          <a:solidFill>
            <a:schemeClr val="tx1"/>
          </a:solidFill>
          <a:latin typeface="+mn-lt"/>
          <a:ea typeface="+mn-ea"/>
          <a:cs typeface="+mn-cs"/>
        </a:defRPr>
      </a:lvl8pPr>
      <a:lvl9pPr marL="3655670" algn="l" defTabSz="913918"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656075"/>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Wingdings" panose="05000000000000000000" pitchFamily="2" charset="2"/>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BE7E3"/>
        </a:solidFill>
        <a:effectLst/>
      </p:bgPr>
    </p:bg>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394858"/>
            <a:ext cx="10972800" cy="3731308"/>
          </a:xfrm>
          <a:prstGeom prst="rect">
            <a:avLst/>
          </a:prstGeom>
        </p:spPr>
        <p:txBody>
          <a:bodyPr vert="horz" lIns="91424" tIns="45710" rIns="91424" bIns="45710" rtlCol="0">
            <a:normAutofit/>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laceholder 2"/>
          <p:cNvSpPr>
            <a:spLocks noGrp="1"/>
          </p:cNvSpPr>
          <p:nvPr>
            <p:ph type="title"/>
          </p:nvPr>
        </p:nvSpPr>
        <p:spPr>
          <a:xfrm>
            <a:off x="609600" y="706438"/>
            <a:ext cx="10972800" cy="1325563"/>
          </a:xfrm>
          <a:prstGeom prst="rect">
            <a:avLst/>
          </a:prstGeom>
        </p:spPr>
        <p:txBody>
          <a:bodyPr vert="horz" lIns="91440" tIns="45720" rIns="91440" bIns="45720" rtlCol="0" anchor="ctr">
            <a:normAutofit/>
          </a:bodyPr>
          <a:lstStyle/>
          <a:p>
            <a:r>
              <a:rPr lang="en-US" dirty="0"/>
              <a:t>MASTER TITLE</a:t>
            </a:r>
          </a:p>
        </p:txBody>
      </p:sp>
    </p:spTree>
    <p:extLst>
      <p:ext uri="{BB962C8B-B14F-4D97-AF65-F5344CB8AC3E}">
        <p14:creationId xmlns:p14="http://schemas.microsoft.com/office/powerpoint/2010/main" val="1515461520"/>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052" rtl="0" eaLnBrk="1" latinLnBrk="0" hangingPunct="1">
        <a:spcBef>
          <a:spcPct val="0"/>
        </a:spcBef>
        <a:buNone/>
        <a:defRPr lang="en-US" sz="7998" b="1" i="1" u="none" kern="1200" spc="0" baseline="0" dirty="0" smtClean="0">
          <a:solidFill>
            <a:schemeClr val="accent1"/>
          </a:solidFill>
          <a:latin typeface="+mj-lt"/>
          <a:ea typeface="+mn-ea"/>
          <a:cs typeface="+mn-cs"/>
        </a:defRPr>
      </a:lvl1pPr>
    </p:titleStyle>
    <p:bodyStyle>
      <a:lvl1pPr marL="0" indent="0" algn="l" defTabSz="914052" rtl="0" eaLnBrk="1" latinLnBrk="0" hangingPunct="1">
        <a:spcBef>
          <a:spcPct val="20000"/>
        </a:spcBef>
        <a:buFontTx/>
        <a:buNone/>
        <a:defRPr sz="3200" kern="1200">
          <a:solidFill>
            <a:schemeClr val="tx1"/>
          </a:solidFill>
          <a:latin typeface="+mn-lt"/>
          <a:ea typeface="+mn-ea"/>
          <a:cs typeface="+mn-cs"/>
        </a:defRPr>
      </a:lvl1pPr>
      <a:lvl2pPr marL="457027" indent="0" algn="l" defTabSz="914052" rtl="0" eaLnBrk="1" latinLnBrk="0" hangingPunct="1">
        <a:spcBef>
          <a:spcPct val="20000"/>
        </a:spcBef>
        <a:buFontTx/>
        <a:buNone/>
        <a:defRPr sz="7998" b="1" i="1" u="none" kern="1200" spc="0" baseline="0">
          <a:solidFill>
            <a:schemeClr val="accent1"/>
          </a:solidFill>
          <a:latin typeface="+mj-lt"/>
          <a:ea typeface="+mn-ea"/>
          <a:cs typeface="+mn-cs"/>
        </a:defRPr>
      </a:lvl2pPr>
      <a:lvl3pPr marL="914052" indent="0" algn="l" defTabSz="914052" rtl="0" eaLnBrk="1" latinLnBrk="0" hangingPunct="1">
        <a:spcBef>
          <a:spcPct val="20000"/>
        </a:spcBef>
        <a:buFontTx/>
        <a:buNone/>
        <a:defRPr sz="2400" b="1" i="0" u="sng" kern="1200">
          <a:solidFill>
            <a:schemeClr val="accent2"/>
          </a:solidFill>
          <a:latin typeface="+mn-lt"/>
          <a:ea typeface="+mn-ea"/>
          <a:cs typeface="+mn-cs"/>
        </a:defRPr>
      </a:lvl3pPr>
      <a:lvl4pPr marL="1371079" indent="0" algn="l" defTabSz="914052" rtl="0" eaLnBrk="1" latinLnBrk="0" hangingPunct="1">
        <a:spcBef>
          <a:spcPct val="20000"/>
        </a:spcBef>
        <a:buFontTx/>
        <a:buNone/>
        <a:defRPr sz="1100" b="0" i="0" kern="1200" spc="300">
          <a:solidFill>
            <a:schemeClr val="accent3"/>
          </a:solidFill>
          <a:latin typeface="+mn-lt"/>
          <a:ea typeface="+mn-ea"/>
          <a:cs typeface="+mn-cs"/>
        </a:defRPr>
      </a:lvl4pPr>
      <a:lvl5pPr marL="1828106" indent="0" algn="l" defTabSz="914052" rtl="0" eaLnBrk="1" latinLnBrk="0" hangingPunct="1">
        <a:spcBef>
          <a:spcPct val="20000"/>
        </a:spcBef>
        <a:buFontTx/>
        <a:buNone/>
        <a:defRPr kumimoji="0" lang="en-US" sz="1400" b="0" i="1" u="none" strike="noStrike" kern="1200" cap="none" spc="0" normalizeH="0" baseline="0" dirty="0" smtClean="0">
          <a:ln>
            <a:noFill/>
          </a:ln>
          <a:solidFill>
            <a:srgbClr val="857E79"/>
          </a:solidFill>
          <a:effectLst/>
          <a:uLnTx/>
          <a:uFillTx/>
          <a:latin typeface="+mn-lt"/>
          <a:ea typeface="+mn-ea"/>
          <a:cs typeface="+mn-cs"/>
        </a:defRPr>
      </a:lvl5pPr>
      <a:lvl6pPr marL="251364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71"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97"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24" indent="-228514" algn="l" defTabSz="9140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52" rtl="0" eaLnBrk="1" latinLnBrk="0" hangingPunct="1">
        <a:defRPr sz="1800" kern="1200">
          <a:solidFill>
            <a:schemeClr val="tx1"/>
          </a:solidFill>
          <a:latin typeface="+mn-lt"/>
          <a:ea typeface="+mn-ea"/>
          <a:cs typeface="+mn-cs"/>
        </a:defRPr>
      </a:lvl1pPr>
      <a:lvl2pPr marL="457027" algn="l" defTabSz="914052" rtl="0" eaLnBrk="1" latinLnBrk="0" hangingPunct="1">
        <a:defRPr sz="1800" kern="1200">
          <a:solidFill>
            <a:schemeClr val="tx1"/>
          </a:solidFill>
          <a:latin typeface="+mn-lt"/>
          <a:ea typeface="+mn-ea"/>
          <a:cs typeface="+mn-cs"/>
        </a:defRPr>
      </a:lvl2pPr>
      <a:lvl3pPr marL="914052" algn="l" defTabSz="914052" rtl="0" eaLnBrk="1" latinLnBrk="0" hangingPunct="1">
        <a:defRPr sz="1800" kern="1200">
          <a:solidFill>
            <a:schemeClr val="tx1"/>
          </a:solidFill>
          <a:latin typeface="+mn-lt"/>
          <a:ea typeface="+mn-ea"/>
          <a:cs typeface="+mn-cs"/>
        </a:defRPr>
      </a:lvl3pPr>
      <a:lvl4pPr marL="1371079" algn="l" defTabSz="914052" rtl="0" eaLnBrk="1" latinLnBrk="0" hangingPunct="1">
        <a:defRPr sz="1800" kern="1200">
          <a:solidFill>
            <a:schemeClr val="tx1"/>
          </a:solidFill>
          <a:latin typeface="+mn-lt"/>
          <a:ea typeface="+mn-ea"/>
          <a:cs typeface="+mn-cs"/>
        </a:defRPr>
      </a:lvl4pPr>
      <a:lvl5pPr marL="1828106" algn="l" defTabSz="914052" rtl="0" eaLnBrk="1" latinLnBrk="0" hangingPunct="1">
        <a:defRPr sz="1800" kern="1200">
          <a:solidFill>
            <a:schemeClr val="tx1"/>
          </a:solidFill>
          <a:latin typeface="+mn-lt"/>
          <a:ea typeface="+mn-ea"/>
          <a:cs typeface="+mn-cs"/>
        </a:defRPr>
      </a:lvl5pPr>
      <a:lvl6pPr marL="2285131" algn="l" defTabSz="914052" rtl="0" eaLnBrk="1" latinLnBrk="0" hangingPunct="1">
        <a:defRPr sz="1800" kern="1200">
          <a:solidFill>
            <a:schemeClr val="tx1"/>
          </a:solidFill>
          <a:latin typeface="+mn-lt"/>
          <a:ea typeface="+mn-ea"/>
          <a:cs typeface="+mn-cs"/>
        </a:defRPr>
      </a:lvl6pPr>
      <a:lvl7pPr marL="2742157" algn="l" defTabSz="914052" rtl="0" eaLnBrk="1" latinLnBrk="0" hangingPunct="1">
        <a:defRPr sz="1800" kern="1200">
          <a:solidFill>
            <a:schemeClr val="tx1"/>
          </a:solidFill>
          <a:latin typeface="+mn-lt"/>
          <a:ea typeface="+mn-ea"/>
          <a:cs typeface="+mn-cs"/>
        </a:defRPr>
      </a:lvl7pPr>
      <a:lvl8pPr marL="3199184" algn="l" defTabSz="914052" rtl="0" eaLnBrk="1" latinLnBrk="0" hangingPunct="1">
        <a:defRPr sz="1800" kern="1200">
          <a:solidFill>
            <a:schemeClr val="tx1"/>
          </a:solidFill>
          <a:latin typeface="+mn-lt"/>
          <a:ea typeface="+mn-ea"/>
          <a:cs typeface="+mn-cs"/>
        </a:defRPr>
      </a:lvl8pPr>
      <a:lvl9pPr marL="3656210" algn="l" defTabSz="9140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1066460"/>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marL="0" marR="0" lvl="0" indent="0" algn="r" defTabSz="1087869"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7869"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55844966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Lst>
  <p:transition>
    <p:fade/>
  </p:transition>
  <p:hf hdr="0" ftr="0" dt="0"/>
  <p:txStyles>
    <p:titleStyle>
      <a:lvl1pPr marL="0" algn="l" defTabSz="1087869" rtl="0" eaLnBrk="1" latinLnBrk="0" hangingPunct="1">
        <a:lnSpc>
          <a:spcPct val="90000"/>
        </a:lnSpc>
        <a:spcBef>
          <a:spcPct val="0"/>
        </a:spcBef>
        <a:buNone/>
        <a:defRPr lang="en-US" sz="4705"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353"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765"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568"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76.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68.xml"/></Relationships>
</file>

<file path=ppt/slides/_rels/slide1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2.xml"/><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3.xml"/><Relationship Id="rId1" Type="http://schemas.openxmlformats.org/officeDocument/2006/relationships/slideLayout" Target="../slideLayouts/slideLayout68.xml"/><Relationship Id="rId4" Type="http://schemas.openxmlformats.org/officeDocument/2006/relationships/hyperlink" Target="https://microsoft.sharepoint.com/sites/infopedia/pages/layouts/KCDoc.aspx?k=G03KC-1-85373"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4.xml"/><Relationship Id="rId1" Type="http://schemas.openxmlformats.org/officeDocument/2006/relationships/slideLayout" Target="../slideLayouts/slideLayout6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3" Type="http://schemas.openxmlformats.org/officeDocument/2006/relationships/hyperlink" Target="https://support.office.com/en-us/article/Skype-for-Business-Online-PSTN-services-use-terms-dc6e95cd-51e8-49ca-bcd3-78dc9dae486a?ui=en-US&amp;rs=en-US&amp;ad=US" TargetMode="External"/><Relationship Id="rId2" Type="http://schemas.openxmlformats.org/officeDocument/2006/relationships/notesSlide" Target="../notesSlides/notesSlide18.xml"/><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hyperlink" Target="https://support.office.com/en-us/article/Is-PSTN-Conferencing-with-phone-numbers-available-in-my-country-or-region-1096d81e-7e14-488c-95d8-b8322e39c059?ui=en-US&amp;rs=en-US&amp;ad=US" TargetMode="External"/><Relationship Id="rId2" Type="http://schemas.openxmlformats.org/officeDocument/2006/relationships/notesSlide" Target="../notesSlides/notesSlide19.xml"/><Relationship Id="rId1" Type="http://schemas.openxmlformats.org/officeDocument/2006/relationships/slideLayout" Target="../slideLayouts/slideLayout68.xml"/><Relationship Id="rId5" Type="http://schemas.openxmlformats.org/officeDocument/2006/relationships/hyperlink" Target="https://microsoft.sharepoint.com/sites/infopedia/pages/layouts/KCDoc.aspx?k=G03KC-1-6924" TargetMode="External"/><Relationship Id="rId4" Type="http://schemas.openxmlformats.org/officeDocument/2006/relationships/hyperlink" Target="https://products.office.com/en-us/business/international-availability"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20.xml.rels><?xml version="1.0" encoding="UTF-8" standalone="yes"?>
<Relationships xmlns="http://schemas.openxmlformats.org/package/2006/relationships"><Relationship Id="rId3" Type="http://schemas.openxmlformats.org/officeDocument/2006/relationships/hyperlink" Target="https://microsoft.sharepoint.com/sites/infopedia/pages/layouts/KCDoc.aspx?k=G03KC-1-6924" TargetMode="External"/><Relationship Id="rId2" Type="http://schemas.openxmlformats.org/officeDocument/2006/relationships/notesSlide" Target="../notesSlides/notesSlide20.xml"/><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3" Type="http://schemas.openxmlformats.org/officeDocument/2006/relationships/hyperlink" Target="https://microsoft.sharepoint.com/sites/infopedia/pages/layouts/KCDoc.aspx?k=G03KC-1-6924" TargetMode="External"/><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70.xml"/><Relationship Id="rId7" Type="http://schemas.openxmlformats.org/officeDocument/2006/relationships/image" Target="../media/image2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68.xml"/><Relationship Id="rId7" Type="http://schemas.openxmlformats.org/officeDocument/2006/relationships/image" Target="../media/image2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1.emf"/><Relationship Id="rId5" Type="http://schemas.openxmlformats.org/officeDocument/2006/relationships/oleObject" Target="../embeddings/oleObject3.bin"/><Relationship Id="rId10" Type="http://schemas.openxmlformats.org/officeDocument/2006/relationships/image" Target="../media/image27.png"/><Relationship Id="rId4" Type="http://schemas.openxmlformats.org/officeDocument/2006/relationships/notesSlide" Target="../notesSlides/notesSlide5.xml"/><Relationship Id="rId9"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0.xml"/><Relationship Id="rId7" Type="http://schemas.openxmlformats.org/officeDocument/2006/relationships/image" Target="../media/image28.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2.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8.xml"/><Relationship Id="rId7" Type="http://schemas.openxmlformats.org/officeDocument/2006/relationships/image" Target="../media/image29.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1.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31.jpe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2.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68.xml"/><Relationship Id="rId7" Type="http://schemas.openxmlformats.org/officeDocument/2006/relationships/image" Target="../media/image32.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1.emf"/><Relationship Id="rId11" Type="http://schemas.openxmlformats.org/officeDocument/2006/relationships/image" Target="../media/image36.jpg"/><Relationship Id="rId5" Type="http://schemas.openxmlformats.org/officeDocument/2006/relationships/oleObject" Target="../embeddings/oleObject7.bin"/><Relationship Id="rId10" Type="http://schemas.openxmlformats.org/officeDocument/2006/relationships/image" Target="../media/image35.jpg"/><Relationship Id="rId4" Type="http://schemas.openxmlformats.org/officeDocument/2006/relationships/notesSlide" Target="../notesSlides/notesSlide9.xml"/><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8" cy="6857999"/>
          </a:xfrm>
          <a:prstGeom prst="rect">
            <a:avLst/>
          </a:prstGeom>
        </p:spPr>
      </p:pic>
      <p:sp>
        <p:nvSpPr>
          <p:cNvPr id="9" name="Parallelogram 8"/>
          <p:cNvSpPr/>
          <p:nvPr/>
        </p:nvSpPr>
        <p:spPr bwMode="auto">
          <a:xfrm>
            <a:off x="-1" y="1416203"/>
            <a:ext cx="7395713" cy="1562786"/>
          </a:xfrm>
          <a:custGeom>
            <a:avLst/>
            <a:gdLst>
              <a:gd name="connsiteX0" fmla="*/ 0 w 8922109"/>
              <a:gd name="connsiteY0" fmla="*/ 3389972 h 3389972"/>
              <a:gd name="connsiteX1" fmla="*/ 1951471 w 8922109"/>
              <a:gd name="connsiteY1" fmla="*/ 0 h 3389972"/>
              <a:gd name="connsiteX2" fmla="*/ 8922109 w 8922109"/>
              <a:gd name="connsiteY2" fmla="*/ 0 h 3389972"/>
              <a:gd name="connsiteX3" fmla="*/ 6970638 w 8922109"/>
              <a:gd name="connsiteY3" fmla="*/ 3389972 h 3389972"/>
              <a:gd name="connsiteX4" fmla="*/ 0 w 8922109"/>
              <a:gd name="connsiteY4" fmla="*/ 3389972 h 3389972"/>
              <a:gd name="connsiteX0" fmla="*/ 0 w 6981797"/>
              <a:gd name="connsiteY0" fmla="*/ 3389972 h 3389972"/>
              <a:gd name="connsiteX1" fmla="*/ 11159 w 6981797"/>
              <a:gd name="connsiteY1" fmla="*/ 0 h 3389972"/>
              <a:gd name="connsiteX2" fmla="*/ 6981797 w 6981797"/>
              <a:gd name="connsiteY2" fmla="*/ 0 h 3389972"/>
              <a:gd name="connsiteX3" fmla="*/ 5030326 w 6981797"/>
              <a:gd name="connsiteY3" fmla="*/ 3389972 h 3389972"/>
              <a:gd name="connsiteX4" fmla="*/ 0 w 6981797"/>
              <a:gd name="connsiteY4" fmla="*/ 3389972 h 3389972"/>
              <a:gd name="connsiteX0" fmla="*/ 1067 w 6971713"/>
              <a:gd name="connsiteY0" fmla="*/ 3378821 h 3389972"/>
              <a:gd name="connsiteX1" fmla="*/ 1075 w 6971713"/>
              <a:gd name="connsiteY1" fmla="*/ 0 h 3389972"/>
              <a:gd name="connsiteX2" fmla="*/ 6971713 w 6971713"/>
              <a:gd name="connsiteY2" fmla="*/ 0 h 3389972"/>
              <a:gd name="connsiteX3" fmla="*/ 5020242 w 6971713"/>
              <a:gd name="connsiteY3" fmla="*/ 3389972 h 3389972"/>
              <a:gd name="connsiteX4" fmla="*/ 1067 w 6971713"/>
              <a:gd name="connsiteY4" fmla="*/ 3378821 h 3389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1713" h="3389972">
                <a:moveTo>
                  <a:pt x="1067" y="3378821"/>
                </a:moveTo>
                <a:cubicBezTo>
                  <a:pt x="4787" y="2248830"/>
                  <a:pt x="-2645" y="1129991"/>
                  <a:pt x="1075" y="0"/>
                </a:cubicBezTo>
                <a:lnTo>
                  <a:pt x="6971713" y="0"/>
                </a:lnTo>
                <a:lnTo>
                  <a:pt x="5020242" y="3389972"/>
                </a:lnTo>
                <a:lnTo>
                  <a:pt x="1067" y="3378821"/>
                </a:lnTo>
                <a:close/>
              </a:path>
            </a:pathLst>
          </a:cu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800" spc="-1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p:nvSpPr>
        <p:spPr>
          <a:xfrm>
            <a:off x="870857" y="1597431"/>
            <a:ext cx="7484673" cy="1200329"/>
          </a:xfrm>
          <a:prstGeom prst="rect">
            <a:avLst/>
          </a:prstGeom>
        </p:spPr>
        <p:txBody>
          <a:bodyPr wrap="square">
            <a:spAutoFit/>
          </a:bodyPr>
          <a:lstStyle/>
          <a:p>
            <a:r>
              <a:rPr lang="en-US" sz="3600" kern="0" dirty="0">
                <a:solidFill>
                  <a:srgbClr val="FFFFFF"/>
                </a:solidFill>
                <a:ea typeface="Segoe UI" pitchFamily="34" charset="0"/>
                <a:cs typeface="Segoe UI" pitchFamily="34" charset="0"/>
              </a:rPr>
              <a:t>OFFICE 365 ENTERPRISE </a:t>
            </a:r>
          </a:p>
          <a:p>
            <a:r>
              <a:rPr lang="en-US" sz="3600" kern="0" dirty="0">
                <a:solidFill>
                  <a:srgbClr val="FFFFFF"/>
                </a:solidFill>
                <a:ea typeface="Segoe UI" pitchFamily="34" charset="0"/>
                <a:cs typeface="Segoe UI" pitchFamily="34" charset="0"/>
              </a:rPr>
              <a:t>E5 LICENSING</a:t>
            </a:r>
            <a:endParaRPr lang="en-US" sz="2800" dirty="0">
              <a:solidFill>
                <a:srgbClr val="FFFFFF"/>
              </a:solidFill>
              <a:latin typeface="Segoe UI Light"/>
            </a:endParaRPr>
          </a:p>
        </p:txBody>
      </p:sp>
      <p:sp>
        <p:nvSpPr>
          <p:cNvPr id="13" name="Frame 12"/>
          <p:cNvSpPr/>
          <p:nvPr/>
        </p:nvSpPr>
        <p:spPr bwMode="auto">
          <a:xfrm>
            <a:off x="-11151" y="0"/>
            <a:ext cx="12203151" cy="6858000"/>
          </a:xfrm>
          <a:prstGeom prst="frame">
            <a:avLst>
              <a:gd name="adj1" fmla="val 8332"/>
            </a:avLst>
          </a:prstGeom>
          <a:solidFill>
            <a:schemeClr val="bg1">
              <a:lumMod val="8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34351" y="6209846"/>
            <a:ext cx="2165148" cy="749808"/>
          </a:xfrm>
          <a:prstGeom prst="rect">
            <a:avLst/>
          </a:prstGeom>
        </p:spPr>
      </p:pic>
    </p:spTree>
    <p:extLst>
      <p:ext uri="{BB962C8B-B14F-4D97-AF65-F5344CB8AC3E}">
        <p14:creationId xmlns:p14="http://schemas.microsoft.com/office/powerpoint/2010/main" val="331610593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2"/>
          <p:cNvGraphicFramePr>
            <a:graphicFrameLocks noGrp="1"/>
          </p:cNvGraphicFramePr>
          <p:nvPr>
            <p:extLst>
              <p:ext uri="{D42A27DB-BD31-4B8C-83A1-F6EECF244321}">
                <p14:modId xmlns:p14="http://schemas.microsoft.com/office/powerpoint/2010/main" val="3598214632"/>
              </p:ext>
            </p:extLst>
          </p:nvPr>
        </p:nvGraphicFramePr>
        <p:xfrm>
          <a:off x="525402" y="284714"/>
          <a:ext cx="10918875" cy="5866623"/>
        </p:xfrm>
        <a:graphic>
          <a:graphicData uri="http://schemas.openxmlformats.org/drawingml/2006/table">
            <a:tbl>
              <a:tblPr firstRow="1" bandRow="1"/>
              <a:tblGrid>
                <a:gridCol w="8229600">
                  <a:extLst>
                    <a:ext uri="{9D8B030D-6E8A-4147-A177-3AD203B41FA5}">
                      <a16:colId xmlns:a16="http://schemas.microsoft.com/office/drawing/2014/main" val="20001"/>
                    </a:ext>
                  </a:extLst>
                </a:gridCol>
                <a:gridCol w="896425">
                  <a:extLst>
                    <a:ext uri="{9D8B030D-6E8A-4147-A177-3AD203B41FA5}">
                      <a16:colId xmlns:a16="http://schemas.microsoft.com/office/drawing/2014/main" val="20002"/>
                    </a:ext>
                  </a:extLst>
                </a:gridCol>
                <a:gridCol w="896425">
                  <a:extLst>
                    <a:ext uri="{9D8B030D-6E8A-4147-A177-3AD203B41FA5}">
                      <a16:colId xmlns:a16="http://schemas.microsoft.com/office/drawing/2014/main" val="20003"/>
                    </a:ext>
                  </a:extLst>
                </a:gridCol>
                <a:gridCol w="896425">
                  <a:extLst>
                    <a:ext uri="{9D8B030D-6E8A-4147-A177-3AD203B41FA5}">
                      <a16:colId xmlns:a16="http://schemas.microsoft.com/office/drawing/2014/main" val="20004"/>
                    </a:ext>
                  </a:extLst>
                </a:gridCol>
              </a:tblGrid>
              <a:tr h="457200">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l" defTabSz="932111" rtl="0" eaLnBrk="1" fontAlgn="base" latinLnBrk="0" hangingPunct="1">
                        <a:spcBef>
                          <a:spcPct val="0"/>
                        </a:spcBef>
                        <a:spcAft>
                          <a:spcPct val="0"/>
                        </a:spcAft>
                      </a:pPr>
                      <a:endParaRPr lang="en-US" sz="1600" b="1" kern="0" dirty="0">
                        <a:solidFill>
                          <a:schemeClr val="accent1"/>
                        </a:solidFill>
                        <a:latin typeface="+mn-lt"/>
                        <a:ea typeface="Segoe UI" pitchFamily="34" charset="0"/>
                        <a:cs typeface="Segoe UI" pitchFamily="34" charset="0"/>
                      </a:endParaRPr>
                    </a:p>
                  </a:txBody>
                  <a:tcPr marL="89642" marR="89642" marT="44821" marB="44821" anchor="ctr">
                    <a:lnL w="2857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2700" kern="0" dirty="0">
                          <a:gradFill>
                            <a:gsLst>
                              <a:gs pos="0">
                                <a:srgbClr val="FFFFFF"/>
                              </a:gs>
                              <a:gs pos="100000">
                                <a:srgbClr val="FFFFFF"/>
                              </a:gs>
                            </a:gsLst>
                            <a:lin ang="5400000" scaled="0"/>
                          </a:gradFill>
                          <a:latin typeface="+mn-lt"/>
                          <a:ea typeface="Segoe UI" pitchFamily="34" charset="0"/>
                          <a:cs typeface="Segoe UI" pitchFamily="34" charset="0"/>
                        </a:rPr>
                        <a:t>E1</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2700" kern="0" dirty="0">
                          <a:gradFill>
                            <a:gsLst>
                              <a:gs pos="0">
                                <a:srgbClr val="FFFFFF"/>
                              </a:gs>
                              <a:gs pos="100000">
                                <a:srgbClr val="FFFFFF"/>
                              </a:gs>
                            </a:gsLst>
                            <a:lin ang="5400000" scaled="0"/>
                          </a:gradFill>
                          <a:latin typeface="+mn-lt"/>
                          <a:ea typeface="Segoe UI" pitchFamily="34" charset="0"/>
                          <a:cs typeface="Segoe UI" pitchFamily="34" charset="0"/>
                        </a:rPr>
                        <a:t>E3</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2700" kern="0" dirty="0">
                          <a:gradFill>
                            <a:gsLst>
                              <a:gs pos="0">
                                <a:srgbClr val="FFFFFF"/>
                              </a:gs>
                              <a:gs pos="100000">
                                <a:srgbClr val="FFFFFF"/>
                              </a:gs>
                            </a:gsLst>
                            <a:lin ang="5400000" scaled="0"/>
                          </a:gradFill>
                          <a:latin typeface="+mn-lt"/>
                          <a:ea typeface="Segoe UI" pitchFamily="34" charset="0"/>
                          <a:cs typeface="Segoe UI" pitchFamily="34" charset="0"/>
                        </a:rPr>
                        <a:t>E5</a:t>
                      </a:r>
                    </a:p>
                  </a:txBody>
                  <a:tcPr marL="89642" marR="89642"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extLst>
                  <a:ext uri="{0D108BD9-81ED-4DB2-BD59-A6C34878D82A}">
                    <a16:rowId xmlns:a16="http://schemas.microsoft.com/office/drawing/2014/main" val="10000"/>
                  </a:ext>
                </a:extLst>
              </a:tr>
              <a:tr h="365760">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pPr>
                      <a:r>
                        <a:rPr lang="en-US" sz="1400" dirty="0">
                          <a:solidFill>
                            <a:schemeClr val="bg1"/>
                          </a:solidFill>
                          <a:latin typeface="Segoe UI Light" panose="020B0502040204020203" pitchFamily="34" charset="0"/>
                          <a:cs typeface="Segoe UI Light" panose="020B0502040204020203" pitchFamily="34" charset="0"/>
                        </a:rPr>
                        <a:t> Features </a:t>
                      </a:r>
                      <a:r>
                        <a:rPr lang="en-US" sz="900" i="1" kern="1200" dirty="0">
                          <a:solidFill>
                            <a:schemeClr val="bg1"/>
                          </a:solidFill>
                          <a:latin typeface="Segoe UI Light" panose="020B0502040204020203" pitchFamily="34" charset="0"/>
                          <a:ea typeface="+mn-ea"/>
                          <a:cs typeface="Segoe UI Light" panose="020B0502040204020203" pitchFamily="34" charset="0"/>
                        </a:rPr>
                        <a:t>Office</a:t>
                      </a:r>
                      <a:r>
                        <a:rPr lang="en-US" sz="900" i="1" kern="1200" baseline="0" dirty="0">
                          <a:solidFill>
                            <a:schemeClr val="bg1"/>
                          </a:solidFill>
                          <a:latin typeface="Segoe UI Light" panose="020B0502040204020203" pitchFamily="34" charset="0"/>
                          <a:ea typeface="+mn-ea"/>
                          <a:cs typeface="Segoe UI Light" panose="020B0502040204020203" pitchFamily="34" charset="0"/>
                        </a:rPr>
                        <a:t> </a:t>
                      </a:r>
                      <a:r>
                        <a:rPr lang="en-US" sz="900" i="1" kern="1200" dirty="0">
                          <a:solidFill>
                            <a:schemeClr val="bg1"/>
                          </a:solidFill>
                          <a:latin typeface="Segoe UI Light" panose="020B0502040204020203" pitchFamily="34" charset="0"/>
                          <a:ea typeface="+mn-ea"/>
                          <a:cs typeface="Segoe UI Light" panose="020B0502040204020203" pitchFamily="34" charset="0"/>
                        </a:rPr>
                        <a:t>365</a:t>
                      </a:r>
                      <a:r>
                        <a:rPr lang="en-US" sz="1200" i="0" kern="1200" baseline="0" dirty="0">
                          <a:solidFill>
                            <a:schemeClr val="bg1"/>
                          </a:solidFill>
                          <a:latin typeface="Segoe UI Light" panose="020B0502040204020203" pitchFamily="34" charset="0"/>
                          <a:ea typeface="+mn-ea"/>
                          <a:cs typeface="Segoe UI Light" panose="020B0502040204020203" pitchFamily="34" charset="0"/>
                        </a:rPr>
                        <a:t> </a:t>
                      </a:r>
                      <a:r>
                        <a:rPr lang="en-US" sz="900" i="1" dirty="0">
                          <a:solidFill>
                            <a:schemeClr val="bg1"/>
                          </a:solidFill>
                          <a:latin typeface="Segoe UI Light" panose="020B0502040204020203" pitchFamily="34" charset="0"/>
                          <a:cs typeface="Segoe UI Light" panose="020B0502040204020203" pitchFamily="34" charset="0"/>
                        </a:rPr>
                        <a:t>Services</a:t>
                      </a:r>
                      <a:endParaRPr lang="en-US" sz="3500" dirty="0">
                        <a:solidFill>
                          <a:schemeClr val="bg1"/>
                        </a:solidFill>
                        <a:latin typeface="Segoe UI Light" panose="020B0502040204020203" pitchFamily="34" charset="0"/>
                        <a:cs typeface="Segoe UI Light" panose="020B0502040204020203" pitchFamily="34" charset="0"/>
                      </a:endParaRPr>
                    </a:p>
                  </a:txBody>
                  <a:tcPr marL="0" marR="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400" kern="0" dirty="0">
                          <a:solidFill>
                            <a:schemeClr val="bg1"/>
                          </a:solidFill>
                          <a:latin typeface="+mn-lt"/>
                          <a:ea typeface="Segoe UI" pitchFamily="34" charset="0"/>
                          <a:cs typeface="Segoe UI" pitchFamily="34" charset="0"/>
                        </a:rPr>
                        <a:t>$8</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400" kern="0" dirty="0">
                          <a:solidFill>
                            <a:schemeClr val="bg1"/>
                          </a:solidFill>
                          <a:latin typeface="+mn-lt"/>
                          <a:ea typeface="Segoe UI" pitchFamily="34" charset="0"/>
                          <a:cs typeface="Segoe UI" pitchFamily="34" charset="0"/>
                        </a:rPr>
                        <a:t>$20</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400" kern="0" dirty="0">
                          <a:solidFill>
                            <a:schemeClr val="bg1"/>
                          </a:solidFill>
                          <a:latin typeface="+mn-lt"/>
                          <a:ea typeface="Segoe UI" pitchFamily="34" charset="0"/>
                          <a:cs typeface="Segoe UI" pitchFamily="34" charset="0"/>
                        </a:rPr>
                        <a:t>$35</a:t>
                      </a:r>
                    </a:p>
                  </a:txBody>
                  <a:tcPr marL="0" marR="0" marT="0" marB="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extLst>
                  <a:ext uri="{0D108BD9-81ED-4DB2-BD59-A6C34878D82A}">
                    <a16:rowId xmlns:a16="http://schemas.microsoft.com/office/drawing/2014/main" val="10001"/>
                  </a:ext>
                </a:extLst>
              </a:tr>
              <a:tr h="300075">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pPr>
                      <a:r>
                        <a:rPr lang="en-US" sz="1400" dirty="0">
                          <a:solidFill>
                            <a:srgbClr val="33302E"/>
                          </a:solidFill>
                          <a:latin typeface="Segoe UI Light" panose="020B0502040204020203" pitchFamily="34" charset="0"/>
                          <a:cs typeface="Segoe UI Light" panose="020B0502040204020203" pitchFamily="34" charset="0"/>
                        </a:rPr>
                        <a:t>Business Class Email and Calendars </a:t>
                      </a:r>
                      <a:r>
                        <a:rPr lang="en-US" sz="900" i="1" dirty="0">
                          <a:solidFill>
                            <a:srgbClr val="33302E"/>
                          </a:solidFill>
                          <a:latin typeface="Segoe UI Light" panose="020B0502040204020203" pitchFamily="34" charset="0"/>
                          <a:cs typeface="Segoe UI Light" panose="020B0502040204020203" pitchFamily="34" charset="0"/>
                        </a:rPr>
                        <a:t>Exchange Online</a:t>
                      </a:r>
                      <a:endParaRPr lang="en-US" sz="9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200" kern="0" dirty="0">
                          <a:solidFill>
                            <a:schemeClr val="tx1"/>
                          </a:solidFill>
                          <a:latin typeface="+mn-lt"/>
                          <a:ea typeface="Segoe UI" pitchFamily="34" charset="0"/>
                          <a:cs typeface="Segoe UI" pitchFamily="34" charset="0"/>
                        </a:rPr>
                        <a:t>50</a:t>
                      </a:r>
                      <a:r>
                        <a:rPr lang="en-US" sz="1200" kern="0" baseline="0" dirty="0">
                          <a:solidFill>
                            <a:schemeClr val="tx1"/>
                          </a:solidFill>
                          <a:latin typeface="+mn-lt"/>
                          <a:ea typeface="Segoe UI" pitchFamily="34" charset="0"/>
                          <a:cs typeface="Segoe UI" pitchFamily="34" charset="0"/>
                        </a:rPr>
                        <a:t> GB</a:t>
                      </a:r>
                      <a:endParaRPr lang="en-US" sz="1200" kern="0" dirty="0">
                        <a:solidFill>
                          <a:schemeClr val="tx1"/>
                        </a:solidFill>
                        <a:latin typeface="+mn-lt"/>
                        <a:ea typeface="Segoe UI" pitchFamily="34" charset="0"/>
                        <a:cs typeface="Segoe UI" pitchFamily="34" charset="0"/>
                      </a:endParaRP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200" kern="0" dirty="0">
                          <a:solidFill>
                            <a:schemeClr val="tx1"/>
                          </a:solidFill>
                          <a:latin typeface="+mn-lt"/>
                          <a:ea typeface="Segoe UI" pitchFamily="34" charset="0"/>
                          <a:cs typeface="Segoe UI" pitchFamily="34" charset="0"/>
                        </a:rPr>
                        <a:t>Unlimited</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200" kern="0" dirty="0">
                          <a:solidFill>
                            <a:schemeClr val="tx1"/>
                          </a:solidFill>
                          <a:latin typeface="+mn-lt"/>
                          <a:ea typeface="Segoe UI" pitchFamily="34" charset="0"/>
                          <a:cs typeface="Segoe UI" pitchFamily="34" charset="0"/>
                        </a:rPr>
                        <a:t>Unlimited</a:t>
                      </a:r>
                    </a:p>
                  </a:txBody>
                  <a:tcPr marL="89642" marR="89642"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77741">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pPr>
                      <a:r>
                        <a:rPr kumimoji="0" lang="en-US" sz="1400" b="0" i="0" u="none" strike="noStrike" kern="1200" cap="none" spc="0" normalizeH="0" baseline="0" noProof="0" dirty="0">
                          <a:ln>
                            <a:noFill/>
                          </a:ln>
                          <a:solidFill>
                            <a:srgbClr val="33302E"/>
                          </a:solidFill>
                          <a:effectLst/>
                          <a:uLnTx/>
                          <a:uFillTx/>
                          <a:latin typeface="Segoe UI Light" panose="020B0502040204020203" pitchFamily="34" charset="0"/>
                          <a:ea typeface="+mn-ea"/>
                          <a:cs typeface="Segoe UI Light" panose="020B0502040204020203" pitchFamily="34" charset="0"/>
                        </a:rPr>
                        <a:t>Social, Video, Sites, Work Management </a:t>
                      </a:r>
                      <a:r>
                        <a:rPr kumimoji="0" lang="en-US" sz="900" b="0" i="1" u="none" strike="noStrike" kern="1200" cap="none" spc="0" normalizeH="0" baseline="0" noProof="0" dirty="0">
                          <a:ln>
                            <a:noFill/>
                          </a:ln>
                          <a:solidFill>
                            <a:srgbClr val="33302E"/>
                          </a:solidFill>
                          <a:effectLst/>
                          <a:uLnTx/>
                          <a:uFillTx/>
                          <a:latin typeface="Segoe UI Light" panose="020B0502040204020203" pitchFamily="34" charset="0"/>
                          <a:ea typeface="+mn-ea"/>
                          <a:cs typeface="Segoe UI Light" panose="020B0502040204020203" pitchFamily="34" charset="0"/>
                        </a:rPr>
                        <a:t>Yammer, O365 Video, SharePoint Online, Planner</a:t>
                      </a:r>
                      <a:endParaRPr lang="en-US" sz="900" dirty="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77741">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lvl="0" indent="0" algn="l" defTabSz="932111" rtl="0" eaLnBrk="1" fontAlgn="base" latinLnBrk="0" hangingPunct="1">
                        <a:lnSpc>
                          <a:spcPct val="100000"/>
                        </a:lnSpc>
                        <a:spcBef>
                          <a:spcPct val="0"/>
                        </a:spcBef>
                        <a:spcAft>
                          <a:spcPct val="0"/>
                        </a:spcAft>
                        <a:buClrTx/>
                        <a:buSzPct val="120000"/>
                        <a:buFontTx/>
                        <a:buNone/>
                        <a:tabLst/>
                        <a:defRPr/>
                      </a:pPr>
                      <a:r>
                        <a:rPr lang="en-US" sz="1400" dirty="0">
                          <a:solidFill>
                            <a:srgbClr val="33302E"/>
                          </a:solidFill>
                          <a:latin typeface="Segoe UI Light" panose="020B0502040204020203" pitchFamily="34" charset="0"/>
                          <a:cs typeface="Segoe UI Light" panose="020B0502040204020203" pitchFamily="34" charset="0"/>
                        </a:rPr>
                        <a:t>IM, Online Meetings,</a:t>
                      </a:r>
                      <a:r>
                        <a:rPr lang="en-US" sz="1400" baseline="0" dirty="0">
                          <a:solidFill>
                            <a:srgbClr val="33302E"/>
                          </a:solidFill>
                          <a:latin typeface="Segoe UI Light" panose="020B0502040204020203" pitchFamily="34" charset="0"/>
                          <a:cs typeface="Segoe UI Light" panose="020B0502040204020203" pitchFamily="34" charset="0"/>
                        </a:rPr>
                        <a:t> </a:t>
                      </a:r>
                      <a:r>
                        <a:rPr kumimoji="0" lang="en-US" sz="1400" b="0" i="0" u="none" strike="noStrike" kern="1200" cap="none" spc="0" normalizeH="0" baseline="0" noProof="0" dirty="0">
                          <a:ln>
                            <a:noFill/>
                          </a:ln>
                          <a:solidFill>
                            <a:srgbClr val="33302E"/>
                          </a:solidFill>
                          <a:effectLst/>
                          <a:uLnTx/>
                          <a:uFillTx/>
                          <a:latin typeface="Segoe UI Light" panose="020B0502040204020203" pitchFamily="34" charset="0"/>
                          <a:ea typeface="+mn-ea"/>
                          <a:cs typeface="Segoe UI Light" panose="020B0502040204020203" pitchFamily="34" charset="0"/>
                        </a:rPr>
                        <a:t>Meeting Broadcast </a:t>
                      </a:r>
                      <a:r>
                        <a:rPr kumimoji="0" lang="en-US" sz="900" b="0" i="1" u="none" strike="noStrike" kern="1200" cap="none" spc="0" normalizeH="0" baseline="0" noProof="0" dirty="0">
                          <a:ln>
                            <a:noFill/>
                          </a:ln>
                          <a:solidFill>
                            <a:srgbClr val="33302E"/>
                          </a:solidFill>
                          <a:effectLst/>
                          <a:uLnTx/>
                          <a:uFillTx/>
                          <a:latin typeface="Segoe UI Light" panose="020B0502040204020203" pitchFamily="34" charset="0"/>
                          <a:ea typeface="+mn-ea"/>
                          <a:cs typeface="Segoe UI Light" panose="020B0502040204020203" pitchFamily="34" charset="0"/>
                        </a:rPr>
                        <a:t>Skype for Business</a:t>
                      </a: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36044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dirty="0">
                          <a:solidFill>
                            <a:srgbClr val="33302E"/>
                          </a:solidFill>
                          <a:latin typeface="Segoe UI Light" panose="020B0502040204020203" pitchFamily="34" charset="0"/>
                          <a:cs typeface="Segoe UI Light" panose="020B0502040204020203" pitchFamily="34" charset="0"/>
                        </a:rPr>
                        <a:t>File Storage,</a:t>
                      </a:r>
                      <a:r>
                        <a:rPr lang="en-US" sz="1400" baseline="0" dirty="0">
                          <a:solidFill>
                            <a:srgbClr val="33302E"/>
                          </a:solidFill>
                          <a:latin typeface="Segoe UI Light" panose="020B0502040204020203" pitchFamily="34" charset="0"/>
                          <a:cs typeface="Segoe UI Light" panose="020B0502040204020203" pitchFamily="34" charset="0"/>
                        </a:rPr>
                        <a:t> </a:t>
                      </a:r>
                      <a:r>
                        <a:rPr lang="en-US" sz="1400" dirty="0">
                          <a:solidFill>
                            <a:srgbClr val="33302E"/>
                          </a:solidFill>
                          <a:latin typeface="Segoe UI Light" panose="020B0502040204020203" pitchFamily="34" charset="0"/>
                          <a:cs typeface="Segoe UI Light" panose="020B0502040204020203" pitchFamily="34" charset="0"/>
                        </a:rPr>
                        <a:t>Sharing, Information Discovery </a:t>
                      </a:r>
                      <a:r>
                        <a:rPr lang="en-US" sz="900" i="1" kern="1200" dirty="0">
                          <a:solidFill>
                            <a:srgbClr val="33302E"/>
                          </a:solidFill>
                          <a:latin typeface="Segoe UI Light" panose="020B0502040204020203" pitchFamily="34" charset="0"/>
                          <a:ea typeface="+mn-ea"/>
                          <a:cs typeface="Segoe UI Light" panose="020B0502040204020203" pitchFamily="34" charset="0"/>
                        </a:rPr>
                        <a:t>OneDrive for Business, Delve</a:t>
                      </a: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36044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Office Online</a:t>
                      </a:r>
                      <a:endParaRPr lang="en-US" sz="900" i="1" kern="1200" dirty="0">
                        <a:solidFill>
                          <a:srgbClr val="33302E"/>
                        </a:solidFill>
                        <a:latin typeface="Segoe UI Light" panose="020B0502040204020203" pitchFamily="34" charset="0"/>
                        <a:ea typeface="+mn-ea"/>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36044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Tx/>
                        <a:buFontTx/>
                        <a:buNone/>
                        <a:tabLst/>
                        <a:defRPr/>
                      </a:pPr>
                      <a:r>
                        <a:rPr lang="en-US" sz="1400" dirty="0">
                          <a:solidFill>
                            <a:srgbClr val="33302E"/>
                          </a:solidFill>
                          <a:latin typeface="Segoe UI Light" panose="020B0502040204020203" pitchFamily="34" charset="0"/>
                          <a:cs typeface="Segoe UI Light" panose="020B0502040204020203" pitchFamily="34" charset="0"/>
                        </a:rPr>
                        <a:t>Office</a:t>
                      </a:r>
                      <a:r>
                        <a:rPr lang="en-US" sz="1400" baseline="0" dirty="0">
                          <a:solidFill>
                            <a:srgbClr val="33302E"/>
                          </a:solidFill>
                          <a:latin typeface="Segoe UI Light" panose="020B0502040204020203" pitchFamily="34" charset="0"/>
                          <a:cs typeface="Segoe UI Light" panose="020B0502040204020203" pitchFamily="34" charset="0"/>
                        </a:rPr>
                        <a:t> Client Apps </a:t>
                      </a:r>
                      <a:r>
                        <a:rPr lang="en-US" sz="900" i="1" kern="1200" dirty="0">
                          <a:solidFill>
                            <a:srgbClr val="33302E"/>
                          </a:solidFill>
                          <a:latin typeface="Segoe UI Light" panose="020B0502040204020203" pitchFamily="34" charset="0"/>
                          <a:ea typeface="+mn-ea"/>
                          <a:cs typeface="Segoe UI Light" panose="020B0502040204020203" pitchFamily="34" charset="0"/>
                        </a:rPr>
                        <a:t>Office 365 ProPlus</a:t>
                      </a:r>
                      <a:endParaRPr lang="en-US" sz="1000" dirty="0">
                        <a:solidFill>
                          <a:srgbClr val="33302E"/>
                        </a:solidFill>
                        <a:latin typeface="Segoe UI Light" panose="020B0502040204020203" pitchFamily="34" charset="0"/>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endParaRPr lang="en-US" sz="1800" kern="0" dirty="0">
                        <a:solidFill>
                          <a:schemeClr val="tx1"/>
                        </a:soli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8"/>
                  </a:ext>
                </a:extLst>
              </a:tr>
              <a:tr h="377741">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Tx/>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Archiving, Rights Management, Data Loss Prevention, Encryption</a:t>
                      </a: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lang="en-US" sz="1800" kern="0" dirty="0">
                        <a:solidFill>
                          <a:schemeClr val="tx1"/>
                        </a:solidFill>
                        <a:latin typeface="+mn-lt"/>
                        <a:cs typeface="Segoe UI" pitchFamily="34" charset="0"/>
                      </a:endParaRPr>
                    </a:p>
                  </a:txBody>
                  <a:tcPr marL="44821" marR="44821"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r>
                        <a:rPr lang="en-US" sz="1800" kern="0" noProof="0" dirty="0">
                          <a:solidFill>
                            <a:schemeClr val="tx1"/>
                          </a:solidFill>
                          <a:latin typeface="+mn-lt"/>
                          <a:ea typeface="Segoe UI" pitchFamily="34" charset="0"/>
                          <a:cs typeface="Segoe UI" pitchFamily="34" charset="0"/>
                        </a:rPr>
                        <a:t>●</a:t>
                      </a:r>
                    </a:p>
                  </a:txBody>
                  <a:tcPr marL="89642" marR="89642" marT="44821" marB="4482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9"/>
                  </a:ext>
                </a:extLst>
              </a:tr>
              <a:tr h="36044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defRPr/>
                      </a:pPr>
                      <a:r>
                        <a:rPr lang="en-US" sz="1400" kern="1200" dirty="0">
                          <a:solidFill>
                            <a:srgbClr val="33302E"/>
                          </a:solidFill>
                          <a:latin typeface="Segoe UI Light" panose="020B0502040204020203" pitchFamily="34" charset="0"/>
                          <a:ea typeface="+mn-ea"/>
                          <a:cs typeface="Segoe UI Light" panose="020B0502040204020203" pitchFamily="34" charset="0"/>
                        </a:rPr>
                        <a:t>Advanced Security Management, Advanced eDiscovery, Secure Attachments and URLs, Access Control</a:t>
                      </a: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70000"/>
                        </a:lnSpc>
                        <a:spcBef>
                          <a:spcPct val="0"/>
                        </a:spcBef>
                        <a:spcAft>
                          <a:spcPct val="0"/>
                        </a:spcAft>
                        <a:buClrTx/>
                        <a:buSzTx/>
                        <a:buFontTx/>
                        <a:buNone/>
                        <a:tabLst/>
                        <a:defRPr/>
                      </a:pPr>
                      <a:endParaRPr kumimoji="0" lang="en-US" sz="900" b="0" i="0" u="none" strike="noStrike" kern="0" cap="none" spc="0" normalizeH="0" baseline="0" noProof="0" dirty="0">
                        <a:ln>
                          <a:noFill/>
                        </a:ln>
                        <a:solidFill>
                          <a:schemeClr val="accent1"/>
                        </a:solidFill>
                        <a:effectLst/>
                        <a:uLnTx/>
                        <a:uFillTx/>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0"/>
                  </a:ext>
                </a:extLst>
              </a:tr>
              <a:tr h="36044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Analytics </a:t>
                      </a:r>
                      <a:r>
                        <a:rPr lang="en-US" sz="900" i="1" kern="1200" dirty="0">
                          <a:solidFill>
                            <a:srgbClr val="33302E"/>
                          </a:solidFill>
                          <a:latin typeface="Segoe UI Light" panose="020B0502040204020203" pitchFamily="34" charset="0"/>
                          <a:ea typeface="+mn-ea"/>
                          <a:cs typeface="Segoe UI Light" panose="020B0502040204020203" pitchFamily="34" charset="0"/>
                        </a:rPr>
                        <a:t>Power BI Pro, Delve Analytics </a:t>
                      </a:r>
                      <a:endParaRPr lang="en-US" sz="1400" i="1" kern="1200" dirty="0">
                        <a:solidFill>
                          <a:srgbClr val="33302E"/>
                        </a:solidFill>
                        <a:latin typeface="Segoe UI Light" panose="020B0502040204020203" pitchFamily="34" charset="0"/>
                        <a:ea typeface="+mn-ea"/>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1"/>
                  </a:ext>
                </a:extLst>
              </a:tr>
              <a:tr h="36044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Cloud PBX </a:t>
                      </a:r>
                      <a:r>
                        <a:rPr lang="en-US" sz="900" i="1" kern="1200" dirty="0">
                          <a:solidFill>
                            <a:srgbClr val="33302E"/>
                          </a:solidFill>
                          <a:latin typeface="Segoe UI Light" panose="020B0502040204020203" pitchFamily="34" charset="0"/>
                          <a:ea typeface="+mn-ea"/>
                          <a:cs typeface="Segoe UI Light" panose="020B0502040204020203" pitchFamily="34" charset="0"/>
                        </a:rPr>
                        <a:t>Skype for Business</a:t>
                      </a:r>
                      <a:endParaRPr lang="en-US" sz="1400" i="1" kern="1200" dirty="0">
                        <a:solidFill>
                          <a:srgbClr val="33302E"/>
                        </a:solidFill>
                        <a:latin typeface="Segoe UI Light" panose="020B0502040204020203" pitchFamily="34" charset="0"/>
                        <a:ea typeface="+mn-ea"/>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952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2"/>
                  </a:ext>
                </a:extLst>
              </a:tr>
              <a:tr h="36044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PSTN Conferencing* </a:t>
                      </a:r>
                      <a:r>
                        <a:rPr lang="en-US" sz="900" i="1" kern="1200" dirty="0">
                          <a:solidFill>
                            <a:srgbClr val="33302E"/>
                          </a:solidFill>
                          <a:latin typeface="Segoe UI Light" panose="020B0502040204020203" pitchFamily="34" charset="0"/>
                          <a:ea typeface="+mn-ea"/>
                          <a:cs typeface="Segoe UI Light" panose="020B0502040204020203" pitchFamily="34" charset="0"/>
                        </a:rPr>
                        <a:t>Skype for Business</a:t>
                      </a:r>
                      <a:endParaRPr lang="en-US" sz="1400" i="1" kern="1200" dirty="0">
                        <a:solidFill>
                          <a:srgbClr val="33302E"/>
                        </a:solidFill>
                        <a:latin typeface="Segoe UI Light" panose="020B0502040204020203" pitchFamily="34" charset="0"/>
                        <a:ea typeface="+mn-ea"/>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dirty="0">
                          <a:solidFill>
                            <a:schemeClr val="tx1"/>
                          </a:solidFill>
                          <a:latin typeface="+mn-lt"/>
                          <a:ea typeface="Segoe UI" pitchFamily="34" charset="0"/>
                          <a:cs typeface="Segoe UI" pitchFamily="34" charset="0"/>
                        </a:rPr>
                        <a:t>●</a:t>
                      </a:r>
                    </a:p>
                  </a:txBody>
                  <a:tcPr marL="89642" marR="89642" marT="44821" marB="44821">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5"/>
                  </a:ext>
                </a:extLst>
              </a:tr>
              <a:tr h="160116">
                <a:tc>
                  <a:txBody>
                    <a:bodyPr/>
                    <a:lstStyle/>
                    <a:p>
                      <a:pPr marL="182880" marR="0" indent="0" algn="l" defTabSz="932111" rtl="0" eaLnBrk="1" fontAlgn="base" latinLnBrk="0" hangingPunct="1">
                        <a:lnSpc>
                          <a:spcPct val="100000"/>
                        </a:lnSpc>
                        <a:spcBef>
                          <a:spcPct val="0"/>
                        </a:spcBef>
                        <a:spcAft>
                          <a:spcPct val="0"/>
                        </a:spcAft>
                        <a:buClrTx/>
                        <a:buSzPct val="120000"/>
                        <a:buFontTx/>
                        <a:buNone/>
                        <a:tabLst/>
                        <a:defRPr/>
                      </a:pPr>
                      <a:endParaRPr kumimoji="0" lang="en-US" sz="200" b="0" i="0" u="none" strike="noStrike" kern="1200" cap="none" spc="0" normalizeH="0" baseline="0" dirty="0">
                        <a:ln>
                          <a:noFill/>
                        </a:ln>
                        <a:solidFill>
                          <a:srgbClr val="33302E"/>
                        </a:solidFill>
                        <a:effectLst/>
                        <a:uLnTx/>
                        <a:uFillTx/>
                        <a:latin typeface="Segoe UI Light" panose="020B0502040204020203" pitchFamily="34" charset="0"/>
                        <a:ea typeface="+mn-ea"/>
                        <a:cs typeface="Segoe UI Light" panose="020B0502040204020203" pitchFamily="34" charset="0"/>
                      </a:endParaRPr>
                    </a:p>
                  </a:txBody>
                  <a:tcPr marL="0" marR="0" marT="0" marB="0" anchor="b">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111" rtl="0" eaLnBrk="1" fontAlgn="base" latinLnBrk="0" hangingPunct="1">
                        <a:spcBef>
                          <a:spcPct val="0"/>
                        </a:spcBef>
                        <a:spcAft>
                          <a:spcPct val="0"/>
                        </a:spcAft>
                      </a:pPr>
                      <a:endParaRPr lang="en-US" sz="1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111" rtl="0" eaLnBrk="1" fontAlgn="base" latinLnBrk="0" hangingPunct="1">
                        <a:spcBef>
                          <a:spcPct val="0"/>
                        </a:spcBef>
                        <a:spcAft>
                          <a:spcPct val="0"/>
                        </a:spcAft>
                      </a:pPr>
                      <a:endParaRPr lang="en-US" sz="1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endParaRPr kumimoji="0" lang="en-US" sz="200" b="0" i="1" u="none" strike="noStrike" kern="1200" cap="none" spc="0" normalizeH="0" baseline="0" dirty="0">
                        <a:ln>
                          <a:noFill/>
                        </a:ln>
                        <a:solidFill>
                          <a:srgbClr val="33302E"/>
                        </a:solidFill>
                        <a:effectLst/>
                        <a:uLnTx/>
                        <a:uFillTx/>
                        <a:latin typeface="Segoe UI Light" panose="020B0502040204020203" pitchFamily="34" charset="0"/>
                        <a:ea typeface="+mn-ea"/>
                        <a:cs typeface="Segoe UI Light" panose="020B0502040204020203" pitchFamily="34" charset="0"/>
                      </a:endParaRPr>
                    </a:p>
                  </a:txBody>
                  <a:tcPr marL="89642" marR="89642" marT="44821" marB="44821" anchor="b">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9358719"/>
                  </a:ext>
                </a:extLst>
              </a:tr>
              <a:tr h="182880">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i="0" kern="1200" dirty="0">
                          <a:solidFill>
                            <a:schemeClr val="bg1"/>
                          </a:solidFill>
                          <a:latin typeface="Segoe UI Light" panose="020B0502040204020203" pitchFamily="34" charset="0"/>
                          <a:ea typeface="+mn-ea"/>
                          <a:cs typeface="Segoe UI Light" panose="020B0502040204020203" pitchFamily="34" charset="0"/>
                        </a:rPr>
                        <a:t> Enterprise Plan Add-ons</a:t>
                      </a:r>
                      <a:endParaRPr lang="en-US" sz="2800" i="0" kern="1200" dirty="0">
                        <a:solidFill>
                          <a:schemeClr val="bg1"/>
                        </a:solidFill>
                        <a:latin typeface="Segoe UI Light" panose="020B0502040204020203" pitchFamily="34" charset="0"/>
                        <a:ea typeface="+mn-ea"/>
                        <a:cs typeface="Segoe UI Light" panose="020B0502040204020203" pitchFamily="34" charset="0"/>
                      </a:endParaRPr>
                    </a:p>
                  </a:txBody>
                  <a:tcPr marL="0" marR="0" marT="0" marB="0" anchor="b">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050" kern="0" dirty="0">
                        <a:gradFill>
                          <a:gsLst>
                            <a:gs pos="0">
                              <a:srgbClr val="FFFFFF"/>
                            </a:gs>
                            <a:gs pos="100000">
                              <a:srgbClr val="FFFFFF"/>
                            </a:gs>
                          </a:gsLst>
                          <a:lin ang="5400000" scaled="0"/>
                        </a:gradFill>
                        <a:latin typeface="12"/>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050" kern="0" dirty="0">
                        <a:gradFill>
                          <a:gsLst>
                            <a:gs pos="0">
                              <a:srgbClr val="FFFFFF"/>
                            </a:gs>
                            <a:gs pos="100000">
                              <a:srgbClr val="FFFFFF"/>
                            </a:gs>
                          </a:gsLst>
                          <a:lin ang="5400000" scaled="0"/>
                        </a:gradFill>
                        <a:latin typeface="12"/>
                        <a:ea typeface="Segoe UI" pitchFamily="34" charset="0"/>
                        <a:cs typeface="Segoe UI" pitchFamily="34" charset="0"/>
                      </a:endParaRPr>
                    </a:p>
                  </a:txBody>
                  <a:tcPr marL="89642" marR="89642" marT="44821" marB="44821">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70000"/>
                        </a:lnSpc>
                        <a:spcBef>
                          <a:spcPct val="0"/>
                        </a:spcBef>
                        <a:spcAft>
                          <a:spcPct val="0"/>
                        </a:spcAft>
                        <a:buClrTx/>
                        <a:buSzTx/>
                        <a:buFontTx/>
                        <a:buNone/>
                        <a:tabLst/>
                        <a:defRPr/>
                      </a:pPr>
                      <a:endParaRPr kumimoji="0" lang="en-US" sz="1050" b="0" i="0" u="none" strike="noStrike" kern="0" cap="none" spc="0" normalizeH="0" baseline="0" noProof="0" dirty="0">
                        <a:ln>
                          <a:noFill/>
                        </a:ln>
                        <a:solidFill>
                          <a:schemeClr val="accent1"/>
                        </a:solidFill>
                        <a:effectLst/>
                        <a:uLnTx/>
                        <a:uFillTx/>
                        <a:latin typeface="Segoe UI"/>
                        <a:ea typeface="Segoe UI" pitchFamily="34" charset="0"/>
                        <a:cs typeface="Segoe UI" pitchFamily="34" charset="0"/>
                      </a:endParaRPr>
                    </a:p>
                  </a:txBody>
                  <a:tcPr marL="89642" marR="89642" marT="44821" marB="44821" anchor="b">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extLst>
                  <a:ext uri="{0D108BD9-81ED-4DB2-BD59-A6C34878D82A}">
                    <a16:rowId xmlns:a16="http://schemas.microsoft.com/office/drawing/2014/main" val="10013"/>
                  </a:ext>
                </a:extLst>
              </a:tr>
              <a:tr h="300075">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PSTN Domestic and International Calling** </a:t>
                      </a:r>
                      <a:r>
                        <a:rPr lang="en-US" sz="900" i="1" kern="1200" dirty="0">
                          <a:solidFill>
                            <a:srgbClr val="33302E"/>
                          </a:solidFill>
                          <a:latin typeface="Segoe UI Light" panose="020B0502040204020203" pitchFamily="34" charset="0"/>
                          <a:ea typeface="+mn-ea"/>
                          <a:cs typeface="Segoe UI Light" panose="020B0502040204020203" pitchFamily="34" charset="0"/>
                        </a:rPr>
                        <a:t>Skype for Business</a:t>
                      </a: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endParaRPr lang="en-US" sz="1400" kern="0" dirty="0">
                        <a:solidFill>
                          <a:schemeClr val="tx1"/>
                        </a:solidFill>
                        <a:latin typeface="+mn-lt"/>
                        <a:ea typeface="Segoe UI" pitchFamily="34" charset="0"/>
                        <a:cs typeface="Segoe UI"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endParaRPr lang="en-US" sz="1400" kern="0" dirty="0">
                        <a:solidFill>
                          <a:schemeClr val="tx1"/>
                        </a:solidFill>
                        <a:latin typeface="+mn-lt"/>
                        <a:ea typeface="Segoe UI" pitchFamily="34" charset="0"/>
                        <a:cs typeface="Segoe UI"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24</a:t>
                      </a:r>
                    </a:p>
                  </a:txBody>
                  <a:tcPr marL="0" marR="0" marT="0" marB="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4"/>
                  </a:ext>
                </a:extLst>
              </a:tr>
              <a:tr h="300075">
                <a:tc>
                  <a:txBody>
                    <a:body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kumimoji="0" lang="en-US" sz="1400" b="0" i="0" u="none" strike="noStrike" kern="1200" cap="none" spc="0" normalizeH="0" baseline="0" dirty="0">
                          <a:ln>
                            <a:noFill/>
                          </a:ln>
                          <a:solidFill>
                            <a:srgbClr val="33302E"/>
                          </a:solidFill>
                          <a:effectLst/>
                          <a:uLnTx/>
                          <a:uFillTx/>
                          <a:latin typeface="Segoe UI Light" panose="020B0502040204020203" pitchFamily="34" charset="0"/>
                          <a:ea typeface="+mn-ea"/>
                          <a:cs typeface="Segoe UI Light" panose="020B0502040204020203" pitchFamily="34" charset="0"/>
                        </a:rPr>
                        <a:t>CRM Online Professional </a:t>
                      </a:r>
                      <a:r>
                        <a:rPr kumimoji="0" lang="en-US" sz="900" b="0" i="1" u="none" strike="noStrike" kern="1200" cap="none" spc="0" normalizeH="0" baseline="0" dirty="0">
                          <a:ln>
                            <a:noFill/>
                          </a:ln>
                          <a:solidFill>
                            <a:srgbClr val="33302E"/>
                          </a:solidFill>
                          <a:effectLst/>
                          <a:uLnTx/>
                          <a:uFillTx/>
                          <a:latin typeface="Segoe UI Light" panose="020B0502040204020203" pitchFamily="34" charset="0"/>
                          <a:ea typeface="+mn-ea"/>
                          <a:cs typeface="Segoe UI Light" panose="020B0502040204020203" pitchFamily="34" charset="0"/>
                        </a:rPr>
                        <a:t>Dynamics</a:t>
                      </a:r>
                      <a:endParaRPr kumimoji="0" lang="en-US" sz="1400" b="0" i="0" u="none" strike="noStrike" kern="1200" cap="none" spc="0" normalizeH="0" baseline="0" dirty="0">
                        <a:ln>
                          <a:noFill/>
                        </a:ln>
                        <a:solidFill>
                          <a:srgbClr val="33302E"/>
                        </a:solidFill>
                        <a:effectLst/>
                        <a:uLnTx/>
                        <a:uFillTx/>
                        <a:latin typeface="Segoe UI Light" panose="020B0502040204020203" pitchFamily="34" charset="0"/>
                        <a:ea typeface="+mn-ea"/>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endParaRPr lang="en-US" sz="1400" kern="1200" dirty="0">
                        <a:solidFill>
                          <a:srgbClr val="33302E"/>
                        </a:solidFill>
                        <a:latin typeface="Segoe UI Light" panose="020B0502040204020203" pitchFamily="34" charset="0"/>
                        <a:ea typeface="+mn-ea"/>
                        <a:cs typeface="Segoe UI Light" panose="020B0502040204020203" pitchFamily="34" charset="0"/>
                      </a:endParaRP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50</a:t>
                      </a:r>
                    </a:p>
                  </a:txBody>
                  <a:tcPr marL="44821" marR="44821" marT="44821" marB="44821"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dirty="0">
                          <a:solidFill>
                            <a:srgbClr val="33302E"/>
                          </a:solidFill>
                          <a:latin typeface="Segoe UI Light" panose="020B0502040204020203" pitchFamily="34" charset="0"/>
                          <a:ea typeface="+mn-ea"/>
                          <a:cs typeface="Segoe UI Light" panose="020B0502040204020203" pitchFamily="34" charset="0"/>
                        </a:rPr>
                        <a:t>+$50</a:t>
                      </a:r>
                    </a:p>
                  </a:txBody>
                  <a:tcPr marL="44821" marR="44821" marT="44821" marB="44821"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141885866"/>
                  </a:ext>
                </a:extLst>
              </a:tr>
            </a:tbl>
          </a:graphicData>
        </a:graphic>
      </p:graphicFrame>
      <p:sp>
        <p:nvSpPr>
          <p:cNvPr id="23" name="Title 22"/>
          <p:cNvSpPr>
            <a:spLocks noGrp="1"/>
          </p:cNvSpPr>
          <p:nvPr>
            <p:ph type="title"/>
          </p:nvPr>
        </p:nvSpPr>
        <p:spPr>
          <a:xfrm>
            <a:off x="330419" y="238455"/>
            <a:ext cx="11696700" cy="1066308"/>
          </a:xfrm>
        </p:spPr>
        <p:txBody>
          <a:bodyPr/>
          <a:lstStyle/>
          <a:p>
            <a:pPr defTabSz="914225">
              <a:lnSpc>
                <a:spcPts val="3500"/>
              </a:lnSpc>
              <a:defRPr/>
            </a:pPr>
            <a:r>
              <a:rPr lang="en-US" sz="4200" kern="900" spc="0" dirty="0">
                <a:solidFill>
                  <a:schemeClr val="accent1"/>
                </a:solidFill>
                <a:ea typeface="+mj-ea"/>
                <a:cs typeface="+mj-cs"/>
              </a:rPr>
              <a:t>Office 365 Enterprise Suites</a:t>
            </a:r>
          </a:p>
        </p:txBody>
      </p:sp>
      <p:sp>
        <p:nvSpPr>
          <p:cNvPr id="16" name="TextBox 15"/>
          <p:cNvSpPr txBox="1"/>
          <p:nvPr/>
        </p:nvSpPr>
        <p:spPr>
          <a:xfrm>
            <a:off x="330419" y="6272359"/>
            <a:ext cx="11180263" cy="429547"/>
          </a:xfrm>
          <a:prstGeom prst="rect">
            <a:avLst/>
          </a:prstGeom>
          <a:noFill/>
        </p:spPr>
        <p:txBody>
          <a:bodyPr wrap="square" lIns="179285" tIns="143428" rIns="179285" bIns="143428" rtlCol="0" anchor="ctr">
            <a:noAutofit/>
          </a:bodyPr>
          <a:lstStyle/>
          <a:p>
            <a:pPr marL="0" marR="0" lvl="0" indent="0" algn="l" defTabSz="896218"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a:t>
            </a:r>
            <a:r>
              <a:rPr kumimoji="0" lang="en-US" sz="882"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Toll-free and International Dial-out conferencing capabilities will incur additional per minute consumption charges when available. Customers can disable this feature to avoid additional billing. Limited geo availability.  </a:t>
            </a:r>
          </a:p>
          <a:p>
            <a:pPr marL="0" marR="0" lvl="0" indent="0" algn="l" defTabSz="896218" rtl="0"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Domestic only calling plans are available for $12. Tax is included in price in USA. Add-On price to E1 &amp; E3 is $32, which includes Cloud PBX</a:t>
            </a:r>
          </a:p>
        </p:txBody>
      </p:sp>
      <p:sp>
        <p:nvSpPr>
          <p:cNvPr id="5" name="Slide Number Placeholder 3"/>
          <p:cNvSpPr>
            <a:spLocks noGrp="1"/>
          </p:cNvSpPr>
          <p:nvPr>
            <p:ph type="sldNum" sz="quarter" idx="15"/>
          </p:nvPr>
        </p:nvSpPr>
        <p:spPr>
          <a:xfrm>
            <a:off x="11624986" y="6553199"/>
            <a:ext cx="761999" cy="304801"/>
          </a:xfrm>
        </p:spPr>
        <p:txBody>
          <a:bodyPr/>
          <a:lstStyle/>
          <a:p>
            <a:pPr algn="r"/>
            <a:fld id="{FAADACFB-7C71-4E89-89D2-7BBA40B7BFA9}" type="slidenum">
              <a:rPr lang="en-US" smtClean="0">
                <a:solidFill>
                  <a:srgbClr val="505050"/>
                </a:solidFill>
              </a:rPr>
              <a:pPr algn="r"/>
              <a:t>10</a:t>
            </a:fld>
            <a:endParaRPr lang="en-US" dirty="0">
              <a:solidFill>
                <a:srgbClr val="505050"/>
              </a:solidFill>
            </a:endParaRPr>
          </a:p>
        </p:txBody>
      </p:sp>
    </p:spTree>
    <p:extLst>
      <p:ext uri="{BB962C8B-B14F-4D97-AF65-F5344CB8AC3E}">
        <p14:creationId xmlns:p14="http://schemas.microsoft.com/office/powerpoint/2010/main" val="74217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Picture 78"/>
          <p:cNvPicPr>
            <a:picLocks noChangeAspect="1"/>
          </p:cNvPicPr>
          <p:nvPr/>
        </p:nvPicPr>
        <p:blipFill rotWithShape="1">
          <a:blip r:embed="rId3" cstate="print">
            <a:extLst>
              <a:ext uri="{28A0092B-C50C-407E-A947-70E740481C1C}">
                <a14:useLocalDpi xmlns:a14="http://schemas.microsoft.com/office/drawing/2010/main" val="0"/>
              </a:ext>
            </a:extLst>
          </a:blip>
          <a:srcRect t="11693" b="13067"/>
          <a:stretch/>
        </p:blipFill>
        <p:spPr>
          <a:xfrm>
            <a:off x="166524" y="213923"/>
            <a:ext cx="11858953" cy="6502636"/>
          </a:xfrm>
          <a:prstGeom prst="rect">
            <a:avLst/>
          </a:prstGeom>
        </p:spPr>
      </p:pic>
      <p:sp>
        <p:nvSpPr>
          <p:cNvPr id="20" name="Rectangle 19"/>
          <p:cNvSpPr/>
          <p:nvPr/>
        </p:nvSpPr>
        <p:spPr bwMode="auto">
          <a:xfrm>
            <a:off x="147473" y="213922"/>
            <a:ext cx="11878004" cy="6502637"/>
          </a:xfrm>
          <a:prstGeom prst="rect">
            <a:avLst/>
          </a:prstGeom>
          <a:solidFill>
            <a:srgbClr val="FFFFFF">
              <a:alpha val="92941"/>
            </a:srgbClr>
          </a:solidFill>
          <a:ln w="10000" cap="flat" cmpd="sng" algn="ctr">
            <a:noFill/>
            <a:prstDash val="solid"/>
            <a:headEnd type="none" w="med" len="med"/>
            <a:tailEnd type="none" w="med" len="med"/>
          </a:ln>
          <a:effectLst/>
        </p:spPr>
        <p:txBody>
          <a:bodyPr rot="0" spcFirstLastPara="0" vertOverflow="overflow" horzOverflow="overflow" vert="horz" wrap="square" lIns="143428" tIns="179285" rIns="0" bIns="114224" numCol="1" spcCol="0" rtlCol="0" fromWordArt="0" anchor="t" anchorCtr="0" forceAA="0" compatLnSpc="1">
            <a:prstTxWarp prst="textNoShape">
              <a:avLst/>
            </a:prstTxWarp>
            <a:noAutofit/>
          </a:bodyP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BFBFB"/>
              </a:solidFill>
              <a:effectLst/>
              <a:uLnTx/>
              <a:uFillTx/>
              <a:latin typeface="Segoe UI"/>
              <a:ea typeface="+mn-ea"/>
              <a:cs typeface="+mn-cs"/>
            </a:endParaRPr>
          </a:p>
        </p:txBody>
      </p:sp>
      <p:sp>
        <p:nvSpPr>
          <p:cNvPr id="23" name="Title 22"/>
          <p:cNvSpPr>
            <a:spLocks noGrp="1"/>
          </p:cNvSpPr>
          <p:nvPr>
            <p:ph type="title"/>
          </p:nvPr>
        </p:nvSpPr>
        <p:spPr/>
        <p:txBody>
          <a:bodyPr/>
          <a:lstStyle/>
          <a:p>
            <a:pPr defTabSz="914225">
              <a:lnSpc>
                <a:spcPts val="3500"/>
              </a:lnSpc>
              <a:defRPr/>
            </a:pPr>
            <a:r>
              <a:rPr lang="en-US" sz="4200" kern="900" spc="0" dirty="0">
                <a:solidFill>
                  <a:schemeClr val="tx2"/>
                </a:solidFill>
                <a:ea typeface="+mj-ea"/>
                <a:cs typeface="+mj-cs"/>
              </a:rPr>
              <a:t>E5 Helps Save Costs</a:t>
            </a:r>
          </a:p>
        </p:txBody>
      </p:sp>
      <p:grpSp>
        <p:nvGrpSpPr>
          <p:cNvPr id="161" name="Group 160"/>
          <p:cNvGrpSpPr/>
          <p:nvPr/>
        </p:nvGrpSpPr>
        <p:grpSpPr>
          <a:xfrm>
            <a:off x="8605859" y="4862796"/>
            <a:ext cx="2926713" cy="1598092"/>
            <a:chOff x="498626" y="5019887"/>
            <a:chExt cx="3717588" cy="1630137"/>
          </a:xfrm>
        </p:grpSpPr>
        <p:sp>
          <p:nvSpPr>
            <p:cNvPr id="173" name="Rectangle 172"/>
            <p:cNvSpPr/>
            <p:nvPr/>
          </p:nvSpPr>
          <p:spPr>
            <a:xfrm>
              <a:off x="548631" y="5660313"/>
              <a:ext cx="3667583" cy="9897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85000"/>
                </a:lnSpc>
                <a:spcBef>
                  <a:spcPts val="0"/>
                </a:spcBef>
                <a:spcAft>
                  <a:spcPts val="0"/>
                </a:spcAft>
                <a:buClrTx/>
                <a:buSzTx/>
                <a:buFontTx/>
                <a:buNone/>
                <a:tabLst/>
                <a:defRPr/>
              </a:pPr>
              <a:r>
                <a:rPr kumimoji="0" lang="en-US" sz="3200" b="1" i="0" u="none" strike="noStrike" kern="1200" cap="none" spc="294" normalizeH="0" baseline="0" noProof="0" dirty="0">
                  <a:ln>
                    <a:noFill/>
                  </a:ln>
                  <a:solidFill>
                    <a:srgbClr val="FBFBFB"/>
                  </a:solidFill>
                  <a:effectLst/>
                  <a:uLnTx/>
                  <a:uFillTx/>
                  <a:latin typeface="Segoe UI"/>
                  <a:ea typeface="+mn-ea"/>
                  <a:cs typeface="+mn-cs"/>
                </a:rPr>
                <a:t> </a:t>
              </a:r>
              <a:r>
                <a:rPr kumimoji="0" lang="en-US" sz="2000" b="1" i="0" u="none" strike="noStrike" kern="1200" cap="none" spc="294" normalizeH="0" baseline="0" noProof="0" dirty="0">
                  <a:ln>
                    <a:noFill/>
                  </a:ln>
                  <a:solidFill>
                    <a:srgbClr val="FBFBFB"/>
                  </a:solidFill>
                  <a:effectLst/>
                  <a:uLnTx/>
                  <a:uFillTx/>
                  <a:latin typeface="Segoe UI"/>
                  <a:ea typeface="+mn-ea"/>
                  <a:cs typeface="+mn-cs"/>
                </a:rPr>
                <a:t>E3 Step up to E5</a:t>
              </a:r>
            </a:p>
          </p:txBody>
        </p:sp>
        <p:grpSp>
          <p:nvGrpSpPr>
            <p:cNvPr id="162" name="Group 161"/>
            <p:cNvGrpSpPr/>
            <p:nvPr/>
          </p:nvGrpSpPr>
          <p:grpSpPr>
            <a:xfrm>
              <a:off x="498626" y="5019887"/>
              <a:ext cx="3660396" cy="646331"/>
              <a:chOff x="643766" y="2554078"/>
              <a:chExt cx="3660396" cy="646331"/>
            </a:xfrm>
          </p:grpSpPr>
          <p:sp>
            <p:nvSpPr>
              <p:cNvPr id="174" name="TextBox 1"/>
              <p:cNvSpPr txBox="1"/>
              <p:nvPr/>
            </p:nvSpPr>
            <p:spPr>
              <a:xfrm>
                <a:off x="643766" y="2554078"/>
                <a:ext cx="3660396" cy="646331"/>
              </a:xfrm>
              <a:prstGeom prst="rect">
                <a:avLst/>
              </a:prstGeom>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29" b="1" i="0" u="none" strike="noStrike" kern="1200" cap="none" spc="-147" normalizeH="0" baseline="0" noProof="0" dirty="0">
                    <a:ln>
                      <a:noFill/>
                    </a:ln>
                    <a:solidFill>
                      <a:srgbClr val="DC3C00"/>
                    </a:solidFill>
                    <a:effectLst/>
                    <a:uLnTx/>
                    <a:uFillTx/>
                    <a:latin typeface="Segoe UI"/>
                    <a:ea typeface="+mn-ea"/>
                    <a:cs typeface="Bodoni Std Bold Italic"/>
                  </a:rPr>
                  <a:t>$15</a:t>
                </a:r>
              </a:p>
            </p:txBody>
          </p:sp>
          <p:sp>
            <p:nvSpPr>
              <p:cNvPr id="175" name="Rectangle 174"/>
              <p:cNvSpPr/>
              <p:nvPr/>
            </p:nvSpPr>
            <p:spPr>
              <a:xfrm>
                <a:off x="1718245" y="2646410"/>
                <a:ext cx="2585915" cy="461665"/>
              </a:xfrm>
              <a:prstGeom prst="rect">
                <a:avLst/>
              </a:prstGeom>
              <a:noFill/>
            </p:spPr>
            <p:txBody>
              <a:bodyPr wrap="square" rIns="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PER USER </a:t>
                </a:r>
                <a:b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br>
                <a: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E5 SUITE DISCOUNT</a:t>
                </a:r>
              </a:p>
            </p:txBody>
          </p:sp>
        </p:grpSp>
      </p:grpSp>
      <p:sp>
        <p:nvSpPr>
          <p:cNvPr id="7" name="Right Brace 6"/>
          <p:cNvSpPr/>
          <p:nvPr/>
        </p:nvSpPr>
        <p:spPr>
          <a:xfrm>
            <a:off x="7754231" y="3855681"/>
            <a:ext cx="806603" cy="2605205"/>
          </a:xfrm>
          <a:prstGeom prst="rightBrace">
            <a:avLst>
              <a:gd name="adj1" fmla="val 8333"/>
              <a:gd name="adj2" fmla="val 77911"/>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3" name="Group 2"/>
          <p:cNvGrpSpPr/>
          <p:nvPr/>
        </p:nvGrpSpPr>
        <p:grpSpPr>
          <a:xfrm>
            <a:off x="4671510" y="3262535"/>
            <a:ext cx="3590852" cy="3198352"/>
            <a:chOff x="4671510" y="3262535"/>
            <a:chExt cx="3590852" cy="3198352"/>
          </a:xfrm>
        </p:grpSpPr>
        <p:grpSp>
          <p:nvGrpSpPr>
            <p:cNvPr id="198" name="Group 197"/>
            <p:cNvGrpSpPr/>
            <p:nvPr/>
          </p:nvGrpSpPr>
          <p:grpSpPr>
            <a:xfrm>
              <a:off x="4673921" y="3262535"/>
              <a:ext cx="3588441" cy="633625"/>
              <a:chOff x="635195" y="1182259"/>
              <a:chExt cx="3660396" cy="646331"/>
            </a:xfrm>
          </p:grpSpPr>
          <p:sp>
            <p:nvSpPr>
              <p:cNvPr id="220" name="TextBox 1"/>
              <p:cNvSpPr txBox="1"/>
              <p:nvPr/>
            </p:nvSpPr>
            <p:spPr>
              <a:xfrm>
                <a:off x="635195" y="1182259"/>
                <a:ext cx="3660396" cy="646331"/>
              </a:xfrm>
              <a:prstGeom prst="rect">
                <a:avLst/>
              </a:prstGeom>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29" b="1" i="0" u="none" strike="noStrike" kern="1200" cap="none" spc="-147" normalizeH="0" baseline="0" noProof="0" dirty="0">
                    <a:ln>
                      <a:noFill/>
                    </a:ln>
                    <a:solidFill>
                      <a:srgbClr val="DC3C00"/>
                    </a:solidFill>
                    <a:effectLst/>
                    <a:uLnTx/>
                    <a:uFillTx/>
                    <a:latin typeface="Segoe UI"/>
                    <a:ea typeface="+mn-ea"/>
                    <a:cs typeface="Bodoni Std Bold Italic"/>
                  </a:rPr>
                  <a:t>$</a:t>
                </a:r>
                <a:r>
                  <a:rPr lang="en-US" sz="3529" b="1" spc="-147" dirty="0">
                    <a:solidFill>
                      <a:srgbClr val="DC3C00"/>
                    </a:solidFill>
                    <a:latin typeface="Segoe UI"/>
                    <a:cs typeface="Bodoni Std Bold Italic"/>
                  </a:rPr>
                  <a:t>41</a:t>
                </a:r>
                <a:endParaRPr kumimoji="0" lang="en-US" sz="3529" b="1" i="0" u="none" strike="noStrike" kern="1200" cap="none" spc="-147" normalizeH="0" baseline="0" noProof="0" dirty="0">
                  <a:ln>
                    <a:noFill/>
                  </a:ln>
                  <a:solidFill>
                    <a:srgbClr val="DC3C00"/>
                  </a:solidFill>
                  <a:effectLst/>
                  <a:uLnTx/>
                  <a:uFillTx/>
                  <a:latin typeface="Segoe UI"/>
                  <a:ea typeface="+mn-ea"/>
                  <a:cs typeface="Bodoni Std Bold Italic"/>
                </a:endParaRPr>
              </a:p>
            </p:txBody>
          </p:sp>
          <p:sp>
            <p:nvSpPr>
              <p:cNvPr id="221" name="Rectangle 220"/>
              <p:cNvSpPr/>
              <p:nvPr/>
            </p:nvSpPr>
            <p:spPr>
              <a:xfrm>
                <a:off x="1489082" y="1262034"/>
                <a:ext cx="1663516" cy="461665"/>
              </a:xfrm>
              <a:prstGeom prst="rect">
                <a:avLst/>
              </a:prstGeom>
              <a:noFill/>
            </p:spPr>
            <p:txBody>
              <a:bodyPr wrap="square" rIns="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PER USER </a:t>
                </a:r>
                <a:b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br>
                <a: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STANDALONE</a:t>
                </a:r>
              </a:p>
            </p:txBody>
          </p:sp>
        </p:grpSp>
        <p:grpSp>
          <p:nvGrpSpPr>
            <p:cNvPr id="202" name="Group 201"/>
            <p:cNvGrpSpPr/>
            <p:nvPr/>
          </p:nvGrpSpPr>
          <p:grpSpPr>
            <a:xfrm>
              <a:off x="4671510" y="4547825"/>
              <a:ext cx="2996092" cy="906980"/>
              <a:chOff x="5302669" y="2407808"/>
              <a:chExt cx="2937558" cy="925167"/>
            </a:xfrm>
            <a:solidFill>
              <a:schemeClr val="tx2"/>
            </a:solidFill>
          </p:grpSpPr>
          <p:sp>
            <p:nvSpPr>
              <p:cNvPr id="216" name="Rectangle 215"/>
              <p:cNvSpPr/>
              <p:nvPr/>
            </p:nvSpPr>
            <p:spPr>
              <a:xfrm>
                <a:off x="7710846" y="2796783"/>
                <a:ext cx="529381" cy="53619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217" name="Rectangle 216"/>
              <p:cNvSpPr/>
              <p:nvPr/>
            </p:nvSpPr>
            <p:spPr>
              <a:xfrm>
                <a:off x="5302669" y="2407808"/>
                <a:ext cx="2397780" cy="3931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Delve Analytics</a:t>
                </a:r>
              </a:p>
            </p:txBody>
          </p:sp>
          <p:sp>
            <p:nvSpPr>
              <p:cNvPr id="218" name="Rectangle 217"/>
              <p:cNvSpPr/>
              <p:nvPr/>
            </p:nvSpPr>
            <p:spPr>
              <a:xfrm>
                <a:off x="7687424" y="2407808"/>
                <a:ext cx="550502" cy="3889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219" name="Rectangle 218"/>
              <p:cNvSpPr/>
              <p:nvPr/>
            </p:nvSpPr>
            <p:spPr>
              <a:xfrm>
                <a:off x="5302669" y="2796776"/>
                <a:ext cx="2422066" cy="53619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Power BI</a:t>
                </a:r>
              </a:p>
            </p:txBody>
          </p:sp>
        </p:grpSp>
        <p:grpSp>
          <p:nvGrpSpPr>
            <p:cNvPr id="204" name="Group 203"/>
            <p:cNvGrpSpPr/>
            <p:nvPr/>
          </p:nvGrpSpPr>
          <p:grpSpPr>
            <a:xfrm>
              <a:off x="4671510" y="3855681"/>
              <a:ext cx="2993748" cy="649762"/>
              <a:chOff x="5302669" y="1816078"/>
              <a:chExt cx="2935260" cy="662791"/>
            </a:xfrm>
            <a:solidFill>
              <a:schemeClr val="tx2"/>
            </a:solidFill>
          </p:grpSpPr>
          <p:sp>
            <p:nvSpPr>
              <p:cNvPr id="206" name="Rectangle 205"/>
              <p:cNvSpPr/>
              <p:nvPr/>
            </p:nvSpPr>
            <p:spPr>
              <a:xfrm>
                <a:off x="7706268" y="2260044"/>
                <a:ext cx="531661" cy="2188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207" name="Rectangle 206"/>
              <p:cNvSpPr/>
              <p:nvPr/>
            </p:nvSpPr>
            <p:spPr>
              <a:xfrm>
                <a:off x="5302671" y="2264387"/>
                <a:ext cx="2403602" cy="2144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PSTN Conferencing</a:t>
                </a:r>
              </a:p>
            </p:txBody>
          </p:sp>
          <p:sp>
            <p:nvSpPr>
              <p:cNvPr id="208" name="Rectangle 207"/>
              <p:cNvSpPr/>
              <p:nvPr/>
            </p:nvSpPr>
            <p:spPr>
              <a:xfrm>
                <a:off x="7706265" y="1816079"/>
                <a:ext cx="531661" cy="4493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209" name="Rectangle 208"/>
              <p:cNvSpPr/>
              <p:nvPr/>
            </p:nvSpPr>
            <p:spPr>
              <a:xfrm>
                <a:off x="5302669" y="1816078"/>
                <a:ext cx="2403595" cy="4482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Cloud PBX</a:t>
                </a:r>
              </a:p>
            </p:txBody>
          </p:sp>
        </p:grpSp>
        <p:grpSp>
          <p:nvGrpSpPr>
            <p:cNvPr id="2" name="Group 1"/>
            <p:cNvGrpSpPr/>
            <p:nvPr/>
          </p:nvGrpSpPr>
          <p:grpSpPr>
            <a:xfrm>
              <a:off x="4676178" y="5490633"/>
              <a:ext cx="2994117" cy="970254"/>
              <a:chOff x="4676178" y="5490633"/>
              <a:chExt cx="2994117" cy="970254"/>
            </a:xfrm>
          </p:grpSpPr>
          <p:sp>
            <p:nvSpPr>
              <p:cNvPr id="210" name="Rectangle 209"/>
              <p:cNvSpPr/>
              <p:nvPr/>
            </p:nvSpPr>
            <p:spPr>
              <a:xfrm>
                <a:off x="4676178" y="5490633"/>
                <a:ext cx="2451495" cy="3839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Office 365 Advanced eDiscovery</a:t>
                </a:r>
              </a:p>
            </p:txBody>
          </p:sp>
          <p:sp>
            <p:nvSpPr>
              <p:cNvPr id="211" name="Rectangle 210"/>
              <p:cNvSpPr/>
              <p:nvPr/>
            </p:nvSpPr>
            <p:spPr>
              <a:xfrm>
                <a:off x="7127683" y="5490633"/>
                <a:ext cx="542249" cy="3839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212" name="Rectangle 211"/>
              <p:cNvSpPr/>
              <p:nvPr/>
            </p:nvSpPr>
            <p:spPr>
              <a:xfrm>
                <a:off x="4676178" y="5872688"/>
                <a:ext cx="2451496" cy="19412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Advanced Threat Protection</a:t>
                </a:r>
              </a:p>
            </p:txBody>
          </p:sp>
          <p:sp>
            <p:nvSpPr>
              <p:cNvPr id="213" name="Rectangle 212"/>
              <p:cNvSpPr/>
              <p:nvPr/>
            </p:nvSpPr>
            <p:spPr>
              <a:xfrm>
                <a:off x="4676178" y="6066835"/>
                <a:ext cx="2451496" cy="1941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Customer Lockbox</a:t>
                </a:r>
              </a:p>
            </p:txBody>
          </p:sp>
          <p:sp>
            <p:nvSpPr>
              <p:cNvPr id="214" name="Rectangle 213"/>
              <p:cNvSpPr/>
              <p:nvPr/>
            </p:nvSpPr>
            <p:spPr>
              <a:xfrm>
                <a:off x="7127675" y="5872691"/>
                <a:ext cx="542249" cy="19411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215" name="Rectangle 214"/>
              <p:cNvSpPr/>
              <p:nvPr/>
            </p:nvSpPr>
            <p:spPr>
              <a:xfrm>
                <a:off x="7127678" y="6066835"/>
                <a:ext cx="542249" cy="1941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54" name="Rectangle 53"/>
              <p:cNvSpPr/>
              <p:nvPr/>
            </p:nvSpPr>
            <p:spPr>
              <a:xfrm>
                <a:off x="4676549" y="6259298"/>
                <a:ext cx="2451496" cy="20158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Advanced Security Management</a:t>
                </a:r>
              </a:p>
            </p:txBody>
          </p:sp>
          <p:sp>
            <p:nvSpPr>
              <p:cNvPr id="55" name="Rectangle 54"/>
              <p:cNvSpPr/>
              <p:nvPr/>
            </p:nvSpPr>
            <p:spPr>
              <a:xfrm>
                <a:off x="7128046" y="6259303"/>
                <a:ext cx="542249" cy="20158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grpSp>
      </p:grpSp>
      <p:grpSp>
        <p:nvGrpSpPr>
          <p:cNvPr id="5" name="Group 4"/>
          <p:cNvGrpSpPr/>
          <p:nvPr/>
        </p:nvGrpSpPr>
        <p:grpSpPr>
          <a:xfrm>
            <a:off x="681275" y="1175787"/>
            <a:ext cx="3588440" cy="5285099"/>
            <a:chOff x="681275" y="1175787"/>
            <a:chExt cx="3588440" cy="5285099"/>
          </a:xfrm>
        </p:grpSpPr>
        <p:grpSp>
          <p:nvGrpSpPr>
            <p:cNvPr id="178" name="Group 177"/>
            <p:cNvGrpSpPr/>
            <p:nvPr/>
          </p:nvGrpSpPr>
          <p:grpSpPr>
            <a:xfrm>
              <a:off x="703485" y="1783415"/>
              <a:ext cx="2914928" cy="940603"/>
              <a:chOff x="8879907" y="1997430"/>
              <a:chExt cx="2463523" cy="983070"/>
            </a:xfrm>
            <a:solidFill>
              <a:srgbClr val="000000"/>
            </a:solidFill>
          </p:grpSpPr>
          <p:sp>
            <p:nvSpPr>
              <p:cNvPr id="187" name="Rectangle 186"/>
              <p:cNvSpPr/>
              <p:nvPr/>
            </p:nvSpPr>
            <p:spPr>
              <a:xfrm>
                <a:off x="8879911" y="1997430"/>
                <a:ext cx="531661" cy="6721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188" name="Rectangle 187"/>
              <p:cNvSpPr/>
              <p:nvPr/>
            </p:nvSpPr>
            <p:spPr>
              <a:xfrm>
                <a:off x="9411578" y="1997430"/>
                <a:ext cx="1931852" cy="6721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765" b="0" i="1" u="none" strike="noStrike" kern="1200" cap="none" spc="0" normalizeH="0" baseline="0" noProof="0" dirty="0">
                    <a:ln>
                      <a:noFill/>
                    </a:ln>
                    <a:solidFill>
                      <a:srgbClr val="FBFBFB"/>
                    </a:solidFill>
                    <a:effectLst/>
                    <a:uLnTx/>
                    <a:uFillTx/>
                    <a:latin typeface="Segoe UI"/>
                    <a:ea typeface="+mn-ea"/>
                    <a:cs typeface="+mn-cs"/>
                  </a:rPr>
                  <a:t>PBX solution</a:t>
                </a:r>
              </a:p>
            </p:txBody>
          </p:sp>
          <p:sp>
            <p:nvSpPr>
              <p:cNvPr id="189" name="Rectangle 188"/>
              <p:cNvSpPr/>
              <p:nvPr/>
            </p:nvSpPr>
            <p:spPr>
              <a:xfrm>
                <a:off x="9411571" y="2669604"/>
                <a:ext cx="1931850" cy="3108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PSTN conferencing solution</a:t>
                </a:r>
              </a:p>
            </p:txBody>
          </p:sp>
          <p:sp>
            <p:nvSpPr>
              <p:cNvPr id="190" name="Rectangle 189"/>
              <p:cNvSpPr/>
              <p:nvPr/>
            </p:nvSpPr>
            <p:spPr>
              <a:xfrm>
                <a:off x="8879907" y="2669605"/>
                <a:ext cx="531661" cy="3084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grpSp>
        <p:grpSp>
          <p:nvGrpSpPr>
            <p:cNvPr id="179" name="Group 178"/>
            <p:cNvGrpSpPr/>
            <p:nvPr/>
          </p:nvGrpSpPr>
          <p:grpSpPr>
            <a:xfrm>
              <a:off x="701445" y="2761662"/>
              <a:ext cx="2914908" cy="1982376"/>
              <a:chOff x="8878183" y="2663646"/>
              <a:chExt cx="2463505" cy="2071877"/>
            </a:xfrm>
            <a:solidFill>
              <a:srgbClr val="000000"/>
            </a:solidFill>
          </p:grpSpPr>
          <p:sp>
            <p:nvSpPr>
              <p:cNvPr id="183" name="Rectangle 182"/>
              <p:cNvSpPr/>
              <p:nvPr/>
            </p:nvSpPr>
            <p:spPr>
              <a:xfrm>
                <a:off x="8878183" y="2663662"/>
                <a:ext cx="531661" cy="2071861"/>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184" name="Rectangle 183"/>
              <p:cNvSpPr/>
              <p:nvPr/>
            </p:nvSpPr>
            <p:spPr>
              <a:xfrm>
                <a:off x="9409837" y="2663646"/>
                <a:ext cx="1931851" cy="207187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765" b="0" i="1" u="none" strike="noStrike" kern="1200" cap="none" spc="0" normalizeH="0" baseline="0" noProof="0" dirty="0">
                    <a:ln>
                      <a:noFill/>
                    </a:ln>
                    <a:solidFill>
                      <a:srgbClr val="FBFBFB"/>
                    </a:solidFill>
                    <a:effectLst/>
                    <a:uLnTx/>
                    <a:uFillTx/>
                    <a:latin typeface="Segoe UI"/>
                    <a:ea typeface="+mn-ea"/>
                    <a:cs typeface="+mn-cs"/>
                  </a:rPr>
                  <a:t>Analytics</a:t>
                </a:r>
              </a:p>
            </p:txBody>
          </p:sp>
        </p:grpSp>
        <p:grpSp>
          <p:nvGrpSpPr>
            <p:cNvPr id="180" name="Group 179"/>
            <p:cNvGrpSpPr/>
            <p:nvPr/>
          </p:nvGrpSpPr>
          <p:grpSpPr>
            <a:xfrm>
              <a:off x="681275" y="1175787"/>
              <a:ext cx="3588440" cy="633626"/>
              <a:chOff x="635195" y="1282549"/>
              <a:chExt cx="3660396" cy="646331"/>
            </a:xfrm>
          </p:grpSpPr>
          <p:sp>
            <p:nvSpPr>
              <p:cNvPr id="181" name="TextBox 1"/>
              <p:cNvSpPr txBox="1"/>
              <p:nvPr/>
            </p:nvSpPr>
            <p:spPr>
              <a:xfrm>
                <a:off x="635195" y="1282549"/>
                <a:ext cx="3660396" cy="646331"/>
              </a:xfrm>
              <a:prstGeom prst="rect">
                <a:avLst/>
              </a:prstGeom>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29" b="1" i="0" u="none" strike="noStrike" kern="1200" cap="none" spc="-147" normalizeH="0" baseline="0" noProof="0" dirty="0">
                    <a:ln>
                      <a:noFill/>
                    </a:ln>
                    <a:solidFill>
                      <a:srgbClr val="DC3C00"/>
                    </a:solidFill>
                    <a:effectLst/>
                    <a:uLnTx/>
                    <a:uFillTx/>
                    <a:latin typeface="Segoe UI"/>
                    <a:ea typeface="+mn-ea"/>
                    <a:cs typeface="Bodoni Std Bold Italic"/>
                  </a:rPr>
                  <a:t>$90+</a:t>
                </a:r>
              </a:p>
            </p:txBody>
          </p:sp>
          <p:sp>
            <p:nvSpPr>
              <p:cNvPr id="182" name="Rectangle 181"/>
              <p:cNvSpPr/>
              <p:nvPr/>
            </p:nvSpPr>
            <p:spPr>
              <a:xfrm>
                <a:off x="1812211" y="1383536"/>
                <a:ext cx="1663516" cy="461665"/>
              </a:xfrm>
              <a:prstGeom prst="rect">
                <a:avLst/>
              </a:prstGeom>
              <a:noFill/>
            </p:spPr>
            <p:txBody>
              <a:bodyPr wrap="square" rIns="0" anchor="t">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PER USER FROM</a:t>
                </a:r>
                <a:b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br>
                <a:r>
                  <a:rPr kumimoji="0" lang="en-US" sz="1176" b="1" i="0" u="none" strike="noStrike" kern="1200" cap="none" spc="0" normalizeH="0" baseline="0" noProof="0" dirty="0">
                    <a:ln>
                      <a:noFill/>
                    </a:ln>
                    <a:solidFill>
                      <a:srgbClr val="000000">
                        <a:lumMod val="65000"/>
                        <a:lumOff val="35000"/>
                      </a:srgbClr>
                    </a:solidFill>
                    <a:effectLst/>
                    <a:uLnTx/>
                    <a:uFillTx/>
                    <a:latin typeface="Segoe UI"/>
                    <a:ea typeface="+mn-ea"/>
                    <a:cs typeface="+mn-cs"/>
                  </a:rPr>
                  <a:t>COMPETITORS</a:t>
                </a:r>
              </a:p>
            </p:txBody>
          </p:sp>
        </p:grpSp>
        <p:grpSp>
          <p:nvGrpSpPr>
            <p:cNvPr id="4" name="Group 3"/>
            <p:cNvGrpSpPr/>
            <p:nvPr/>
          </p:nvGrpSpPr>
          <p:grpSpPr>
            <a:xfrm>
              <a:off x="697326" y="4792732"/>
              <a:ext cx="2919027" cy="1668154"/>
              <a:chOff x="697326" y="4792732"/>
              <a:chExt cx="2919027" cy="1668154"/>
            </a:xfrm>
          </p:grpSpPr>
          <p:sp>
            <p:nvSpPr>
              <p:cNvPr id="195" name="Rectangle 194"/>
              <p:cNvSpPr/>
              <p:nvPr/>
            </p:nvSpPr>
            <p:spPr>
              <a:xfrm>
                <a:off x="1326412" y="4792732"/>
                <a:ext cx="2285835" cy="9502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765" b="0" i="1" u="none" strike="noStrike" kern="1200" cap="none" spc="0" normalizeH="0" baseline="0" noProof="0" dirty="0">
                    <a:ln>
                      <a:noFill/>
                    </a:ln>
                    <a:solidFill>
                      <a:srgbClr val="FBFBFB"/>
                    </a:solidFill>
                    <a:effectLst/>
                    <a:uLnTx/>
                    <a:uFillTx/>
                    <a:latin typeface="Segoe UI"/>
                    <a:ea typeface="+mn-ea"/>
                    <a:cs typeface="+mn-cs"/>
                  </a:rPr>
                  <a:t>eDiscovery solution</a:t>
                </a:r>
              </a:p>
            </p:txBody>
          </p:sp>
          <p:sp>
            <p:nvSpPr>
              <p:cNvPr id="196" name="Rectangle 195"/>
              <p:cNvSpPr/>
              <p:nvPr/>
            </p:nvSpPr>
            <p:spPr>
              <a:xfrm>
                <a:off x="697337" y="4792734"/>
                <a:ext cx="629075" cy="9502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3"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sp>
            <p:nvSpPr>
              <p:cNvPr id="58" name="Rectangle 57"/>
              <p:cNvSpPr/>
              <p:nvPr/>
            </p:nvSpPr>
            <p:spPr>
              <a:xfrm>
                <a:off x="1330518" y="6200134"/>
                <a:ext cx="2285835" cy="26075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defTabSz="914225">
                  <a:defRPr/>
                </a:pPr>
                <a:r>
                  <a:rPr lang="en-US" sz="1372" i="1" dirty="0">
                    <a:solidFill>
                      <a:srgbClr val="FBFBFB"/>
                    </a:solidFill>
                  </a:rPr>
                  <a:t>Advanced visibility</a:t>
                </a:r>
                <a:endParaRPr kumimoji="0" lang="en-US" sz="1372" b="0" i="1" u="none" strike="noStrike" kern="1200" cap="none" spc="0" normalizeH="0" baseline="0" noProof="0" dirty="0">
                  <a:ln>
                    <a:noFill/>
                  </a:ln>
                  <a:solidFill>
                    <a:srgbClr val="FBFBFB"/>
                  </a:solidFill>
                  <a:effectLst/>
                  <a:uLnTx/>
                  <a:uFillTx/>
                  <a:latin typeface="Segoe UI"/>
                  <a:ea typeface="+mn-ea"/>
                  <a:cs typeface="+mn-cs"/>
                </a:endParaRPr>
              </a:p>
            </p:txBody>
          </p:sp>
          <p:sp>
            <p:nvSpPr>
              <p:cNvPr id="59" name="Rectangle 58"/>
              <p:cNvSpPr/>
              <p:nvPr/>
            </p:nvSpPr>
            <p:spPr>
              <a:xfrm>
                <a:off x="701442" y="6200120"/>
                <a:ext cx="629075" cy="26076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4821"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882" b="0" i="1" u="none" strike="noStrike" kern="1200" cap="none" spc="0" normalizeH="0" baseline="0" noProof="0" dirty="0">
                  <a:ln>
                    <a:noFill/>
                  </a:ln>
                  <a:solidFill>
                    <a:srgbClr val="FBFBFB"/>
                  </a:solidFill>
                  <a:effectLst/>
                  <a:uLnTx/>
                  <a:uFillTx/>
                  <a:latin typeface="Segoe UI"/>
                  <a:ea typeface="+mn-ea"/>
                  <a:cs typeface="+mn-cs"/>
                </a:endParaRPr>
              </a:p>
            </p:txBody>
          </p:sp>
          <p:sp>
            <p:nvSpPr>
              <p:cNvPr id="192" name="Rectangle 191"/>
              <p:cNvSpPr/>
              <p:nvPr/>
            </p:nvSpPr>
            <p:spPr>
              <a:xfrm>
                <a:off x="1326402" y="5966178"/>
                <a:ext cx="2285835" cy="25287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Data access control</a:t>
                </a:r>
              </a:p>
            </p:txBody>
          </p:sp>
          <p:sp>
            <p:nvSpPr>
              <p:cNvPr id="194" name="Rectangle 193"/>
              <p:cNvSpPr/>
              <p:nvPr/>
            </p:nvSpPr>
            <p:spPr>
              <a:xfrm>
                <a:off x="697326" y="5966164"/>
                <a:ext cx="629075" cy="25287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4821"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882" b="0" i="1" u="none" strike="noStrike" kern="1200" cap="none" spc="0" normalizeH="0" baseline="0" noProof="0" dirty="0">
                  <a:ln>
                    <a:noFill/>
                  </a:ln>
                  <a:solidFill>
                    <a:srgbClr val="FBFBFB"/>
                  </a:solidFill>
                  <a:effectLst/>
                  <a:uLnTx/>
                  <a:uFillTx/>
                  <a:latin typeface="Segoe UI"/>
                  <a:ea typeface="+mn-ea"/>
                  <a:cs typeface="+mn-cs"/>
                </a:endParaRPr>
              </a:p>
            </p:txBody>
          </p:sp>
          <p:sp>
            <p:nvSpPr>
              <p:cNvPr id="191" name="Rectangle 190"/>
              <p:cNvSpPr/>
              <p:nvPr/>
            </p:nvSpPr>
            <p:spPr>
              <a:xfrm>
                <a:off x="1326406" y="5724273"/>
                <a:ext cx="2285835" cy="24190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372" b="0" i="1" u="none" strike="noStrike" kern="1200" cap="none" spc="0" normalizeH="0" baseline="0" noProof="0" dirty="0">
                    <a:ln>
                      <a:noFill/>
                    </a:ln>
                    <a:solidFill>
                      <a:srgbClr val="FBFBFB"/>
                    </a:solidFill>
                    <a:effectLst/>
                    <a:uLnTx/>
                    <a:uFillTx/>
                    <a:latin typeface="Segoe UI"/>
                    <a:ea typeface="+mn-ea"/>
                    <a:cs typeface="+mn-cs"/>
                  </a:rPr>
                  <a:t>Advanced security</a:t>
                </a:r>
              </a:p>
            </p:txBody>
          </p:sp>
          <p:sp>
            <p:nvSpPr>
              <p:cNvPr id="193" name="Rectangle 192"/>
              <p:cNvSpPr/>
              <p:nvPr/>
            </p:nvSpPr>
            <p:spPr>
              <a:xfrm>
                <a:off x="697331" y="5724288"/>
                <a:ext cx="629075" cy="24190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4821" rIns="0" bIns="45713"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568" b="1" i="0" u="none" strike="noStrike" kern="1200" cap="none" spc="98" normalizeH="0" baseline="0" noProof="0" dirty="0">
                  <a:ln>
                    <a:noFill/>
                  </a:ln>
                  <a:solidFill>
                    <a:srgbClr val="FBFBFB"/>
                  </a:solidFill>
                  <a:effectLst/>
                  <a:uLnTx/>
                  <a:uFillTx/>
                  <a:latin typeface="Segoe UI"/>
                  <a:ea typeface="+mn-ea"/>
                  <a:cs typeface="+mn-cs"/>
                </a:endParaRPr>
              </a:p>
            </p:txBody>
          </p:sp>
        </p:grpSp>
      </p:grpSp>
      <p:cxnSp>
        <p:nvCxnSpPr>
          <p:cNvPr id="8" name="Straight Connector 7"/>
          <p:cNvCxnSpPr/>
          <p:nvPr/>
        </p:nvCxnSpPr>
        <p:spPr>
          <a:xfrm>
            <a:off x="4133589" y="5490633"/>
            <a:ext cx="7791711" cy="0"/>
          </a:xfrm>
          <a:prstGeom prst="line">
            <a:avLst/>
          </a:prstGeom>
          <a:ln w="254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0" name="Rectangle 59"/>
          <p:cNvSpPr/>
          <p:nvPr/>
        </p:nvSpPr>
        <p:spPr bwMode="auto">
          <a:xfrm>
            <a:off x="8366423" y="3340742"/>
            <a:ext cx="2694059" cy="11818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lvl="0" algn="ctr" defTabSz="932472" fontAlgn="base">
              <a:lnSpc>
                <a:spcPct val="90000"/>
              </a:lnSpc>
              <a:spcBef>
                <a:spcPct val="0"/>
              </a:spcBef>
              <a:spcAft>
                <a:spcPct val="0"/>
              </a:spcAft>
              <a:defRPr/>
            </a:pPr>
            <a:r>
              <a:rPr lang="en-US" b="1" kern="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he costs of the security products alone justify </a:t>
            </a:r>
            <a:r>
              <a:rPr kumimoji="0" lang="en-US" b="1" i="0" u="none" strike="noStrike" kern="0" cap="none" spc="0" normalizeH="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he incremental E5 suite cost of $15</a:t>
            </a:r>
            <a:endParaRPr kumimoji="0" lang="en-US" b="1"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cxnSp>
        <p:nvCxnSpPr>
          <p:cNvPr id="11" name="Straight Arrow Connector 10"/>
          <p:cNvCxnSpPr/>
          <p:nvPr/>
        </p:nvCxnSpPr>
        <p:spPr>
          <a:xfrm flipH="1">
            <a:off x="8262362" y="4290920"/>
            <a:ext cx="382408" cy="116387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Slide Number Placeholder 3"/>
          <p:cNvSpPr>
            <a:spLocks noGrp="1"/>
          </p:cNvSpPr>
          <p:nvPr>
            <p:ph type="sldNum" sz="quarter" idx="15"/>
          </p:nvPr>
        </p:nvSpPr>
        <p:spPr>
          <a:xfrm>
            <a:off x="11430003" y="6553201"/>
            <a:ext cx="761999" cy="304801"/>
          </a:xfrm>
        </p:spPr>
        <p:txBody>
          <a:bodyPr/>
          <a:lstStyle/>
          <a:p>
            <a:pPr algn="r"/>
            <a:fld id="{FAADACFB-7C71-4E89-89D2-7BBA40B7BFA9}" type="slidenum">
              <a:rPr lang="en-US" smtClean="0">
                <a:solidFill>
                  <a:srgbClr val="505050"/>
                </a:solidFill>
              </a:rPr>
              <a:pPr algn="r"/>
              <a:t>11</a:t>
            </a:fld>
            <a:endParaRPr lang="en-US" dirty="0">
              <a:solidFill>
                <a:srgbClr val="505050"/>
              </a:solidFill>
            </a:endParaRPr>
          </a:p>
        </p:txBody>
      </p:sp>
    </p:spTree>
    <p:extLst>
      <p:ext uri="{BB962C8B-B14F-4D97-AF65-F5344CB8AC3E}">
        <p14:creationId xmlns:p14="http://schemas.microsoft.com/office/powerpoint/2010/main" val="42715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9526" b="6180"/>
          <a:stretch/>
        </p:blipFill>
        <p:spPr>
          <a:xfrm>
            <a:off x="0" y="0"/>
            <a:ext cx="12192000" cy="6858000"/>
          </a:xfrm>
          <a:prstGeom prst="rect">
            <a:avLst/>
          </a:prstGeom>
        </p:spPr>
      </p:pic>
      <p:sp>
        <p:nvSpPr>
          <p:cNvPr id="8" name="Rectangle 7"/>
          <p:cNvSpPr/>
          <p:nvPr/>
        </p:nvSpPr>
        <p:spPr bwMode="auto">
          <a:xfrm>
            <a:off x="-3259" y="0"/>
            <a:ext cx="12198518" cy="6866880"/>
          </a:xfrm>
          <a:prstGeom prst="rect">
            <a:avLst/>
          </a:prstGeom>
          <a:solidFill>
            <a:srgbClr val="FFFFFF">
              <a:alpha val="89000"/>
            </a:srgbClr>
          </a:solidFill>
          <a:ln w="10000" cap="flat" cmpd="sng" algn="ctr">
            <a:noFill/>
            <a:prstDash val="solid"/>
            <a:headEnd type="none" w="med" len="med"/>
            <a:tailEnd type="none" w="med" len="med"/>
          </a:ln>
          <a:effectLst/>
        </p:spPr>
        <p:txBody>
          <a:bodyPr rot="0" spcFirstLastPara="0" vertOverflow="overflow" horzOverflow="overflow" vert="horz" wrap="square" lIns="143428" tIns="179285" rIns="0" bIns="114224" numCol="1" spcCol="0" rtlCol="0" fromWordArt="0" anchor="t" anchorCtr="0" forceAA="0" compatLnSpc="1">
            <a:prstTxWarp prst="textNoShape">
              <a:avLst/>
            </a:prstTxWarp>
            <a:noAutofit/>
          </a:bodyP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BFBFB"/>
              </a:solidFill>
              <a:effectLst/>
              <a:uLnTx/>
              <a:uFillTx/>
              <a:latin typeface="Segoe UI"/>
              <a:ea typeface="+mn-ea"/>
              <a:cs typeface="+mn-cs"/>
            </a:endParaRPr>
          </a:p>
        </p:txBody>
      </p:sp>
      <p:sp>
        <p:nvSpPr>
          <p:cNvPr id="6" name="Title 22"/>
          <p:cNvSpPr>
            <a:spLocks noGrp="1"/>
          </p:cNvSpPr>
          <p:nvPr>
            <p:ph type="title"/>
          </p:nvPr>
        </p:nvSpPr>
        <p:spPr>
          <a:xfrm>
            <a:off x="220993" y="356445"/>
            <a:ext cx="11652760" cy="587748"/>
          </a:xfrm>
        </p:spPr>
        <p:txBody>
          <a:bodyPr/>
          <a:lstStyle/>
          <a:p>
            <a:pPr defTabSz="914225">
              <a:lnSpc>
                <a:spcPts val="3500"/>
              </a:lnSpc>
              <a:defRPr/>
            </a:pPr>
            <a:r>
              <a:rPr lang="en-US" sz="2400" b="1" kern="900" spc="294" dirty="0">
                <a:solidFill>
                  <a:srgbClr val="DC3C00"/>
                </a:solidFill>
                <a:latin typeface="Segoe UI"/>
              </a:rPr>
              <a:t>E5 “SINGLE SKU” WITH PSTN CONFERENCING NOW AVAILABLE</a:t>
            </a:r>
            <a:br>
              <a:rPr lang="en-US" sz="2400" b="1" kern="900" spc="294" dirty="0">
                <a:solidFill>
                  <a:srgbClr val="DC3C00"/>
                </a:solidFill>
                <a:latin typeface="Segoe UI"/>
              </a:rPr>
            </a:br>
            <a:endParaRPr lang="en-US" sz="2400" b="1" kern="900" spc="294" dirty="0">
              <a:solidFill>
                <a:schemeClr val="accent1"/>
              </a:solidFill>
              <a:latin typeface="+mn-lt"/>
              <a:ea typeface="+mj-ea"/>
              <a:cs typeface="+mj-cs"/>
            </a:endParaRPr>
          </a:p>
        </p:txBody>
      </p:sp>
      <p:sp>
        <p:nvSpPr>
          <p:cNvPr id="3" name="Slide Number Placeholder 2"/>
          <p:cNvSpPr>
            <a:spLocks noGrp="1"/>
          </p:cNvSpPr>
          <p:nvPr>
            <p:ph type="sldNum" sz="quarter" idx="12"/>
          </p:nvPr>
        </p:nvSpPr>
        <p:spPr>
          <a:xfrm>
            <a:off x="11465511" y="6493484"/>
            <a:ext cx="761999" cy="30480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 name="Rectangle 3"/>
          <p:cNvSpPr/>
          <p:nvPr/>
        </p:nvSpPr>
        <p:spPr>
          <a:xfrm>
            <a:off x="4407380" y="2435154"/>
            <a:ext cx="7130314" cy="1051864"/>
          </a:xfrm>
          <a:prstGeom prst="rect">
            <a:avLst/>
          </a:prstGeom>
          <a:solidFill>
            <a:schemeClr val="bg1">
              <a:lumMod val="85000"/>
            </a:schemeClr>
          </a:solidFill>
          <a:ln w="10000" cap="flat" cmpd="sng" algn="ctr">
            <a:noFill/>
            <a:prstDash val="solid"/>
          </a:ln>
          <a:effectLst/>
        </p:spPr>
        <p:txBody>
          <a:bodyPr lIns="448212" rIns="358570" rtlCol="0" anchor="ctr"/>
          <a:lstStyle/>
          <a:p>
            <a:pPr marL="0" marR="0" lvl="0" indent="0" defTabSz="896218"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EA Direct, EA </a:t>
            </a:r>
            <a:r>
              <a:rPr kumimoji="0" lang="en-US" sz="1961" b="1" i="0" u="none" strike="noStrike" kern="0" cap="none" spc="0" normalizeH="0" baseline="0" noProof="0" dirty="0">
                <a:ln>
                  <a:noFill/>
                </a:ln>
                <a:solidFill>
                  <a:sysClr val="windowText" lastClr="000000"/>
                </a:solidFill>
                <a:effectLst/>
                <a:uLnTx/>
                <a:uFillTx/>
                <a:latin typeface="Segoe UI"/>
                <a:ea typeface="Segoe UI" panose="020B0502040204020203" pitchFamily="34" charset="0"/>
                <a:cs typeface="Segoe UI" panose="020B0502040204020203" pitchFamily="34" charset="0"/>
              </a:rPr>
              <a:t>Indirect</a:t>
            </a:r>
            <a:r>
              <a:rPr kumimoji="0" lang="en-US" sz="1800" b="0" i="0" u="none" strike="noStrike" kern="900" cap="none" spc="0" normalizeH="0" baseline="30000" noProof="0" dirty="0">
                <a:ln w="3175">
                  <a:noFill/>
                </a:ln>
                <a:solidFill>
                  <a:sysClr val="windowText" lastClr="000000"/>
                </a:solidFill>
                <a:effectLst/>
                <a:uLnTx/>
                <a:uFillTx/>
                <a:cs typeface="Segoe UI" panose="020B0502040204020203" pitchFamily="34" charset="0"/>
              </a:rPr>
              <a:t>1</a:t>
            </a:r>
            <a:endParaRPr kumimoji="0" lang="en-US" sz="1961" b="1" i="0" u="none" strike="noStrike" kern="0" cap="none" spc="0" normalizeH="0" baseline="0" noProof="0" dirty="0">
              <a:ln>
                <a:noFill/>
              </a:ln>
              <a:solidFill>
                <a:sysClr val="windowText" lastClr="000000"/>
              </a:solidFill>
              <a:effectLst/>
              <a:uLnTx/>
              <a:uFillTx/>
              <a:latin typeface="Segoe UI"/>
              <a:cs typeface="Segoe UI" panose="020B0502040204020203" pitchFamily="34" charset="0"/>
            </a:endParaRPr>
          </a:p>
          <a:p>
            <a:pPr lvl="0" defTabSz="896218">
              <a:defRPr/>
            </a:pPr>
            <a:r>
              <a:rPr kumimoji="0" lang="en-US" sz="1961" b="1" i="0" u="none" strike="noStrike" kern="0" cap="none" spc="0" normalizeH="0" baseline="0" noProof="0" dirty="0">
                <a:ln>
                  <a:noFill/>
                </a:ln>
                <a:solidFill>
                  <a:sysClr val="windowText" lastClr="000000"/>
                </a:solidFill>
                <a:effectLst/>
                <a:uLnTx/>
                <a:uFillTx/>
                <a:ea typeface="Segoe UI" panose="020B0502040204020203" pitchFamily="34" charset="0"/>
                <a:cs typeface="Segoe UI" panose="020B0502040204020203" pitchFamily="34" charset="0"/>
              </a:rPr>
              <a:t>CSP, MPSA, EES/School </a:t>
            </a:r>
            <a:r>
              <a:rPr kumimoji="0" lang="en-US" sz="1961" b="1"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and Web Direc</a:t>
            </a:r>
            <a:r>
              <a:rPr kumimoji="0" lang="en-US" sz="1961" b="1" i="0" u="none" strike="noStrike" kern="0" cap="none" spc="0" normalizeH="0" baseline="0" noProof="0" dirty="0">
                <a:ln>
                  <a:noFill/>
                </a:ln>
                <a:solidFill>
                  <a:sysClr val="windowText" lastClr="000000"/>
                </a:solidFill>
                <a:effectLst/>
                <a:uLnTx/>
                <a:uFillTx/>
                <a:latin typeface="Segoe UI"/>
                <a:ea typeface="Segoe UI" panose="020B0502040204020203" pitchFamily="34" charset="0"/>
                <a:cs typeface="Segoe UI" panose="020B0502040204020203" pitchFamily="34" charset="0"/>
              </a:rPr>
              <a:t>t</a:t>
            </a:r>
            <a:endParaRPr kumimoji="0" lang="en-US" sz="1961" b="1"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p:txBody>
      </p:sp>
      <p:sp>
        <p:nvSpPr>
          <p:cNvPr id="33" name="TextBox 32"/>
          <p:cNvSpPr txBox="1"/>
          <p:nvPr/>
        </p:nvSpPr>
        <p:spPr>
          <a:xfrm>
            <a:off x="456696" y="5665413"/>
            <a:ext cx="11675432" cy="396130"/>
          </a:xfrm>
          <a:prstGeom prst="rect">
            <a:avLst/>
          </a:prstGeom>
          <a:noFill/>
        </p:spPr>
        <p:txBody>
          <a:bodyPr wrap="square" lIns="0" tIns="0" rIns="0" bIns="0" rtlCol="0" anchor="ctr">
            <a:noAutofit/>
          </a:bodyPr>
          <a:lstStyle/>
          <a:p>
            <a:pPr marL="228600" marR="0" lvl="0" indent="-228600" algn="l" defTabSz="896218"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The old E5 w/out PSTN Conferencing SKU will </a:t>
            </a:r>
            <a:r>
              <a:rPr kumimoji="0" lang="en-US" sz="1200" b="0" i="0" u="none" strike="noStrike" kern="0" cap="none" spc="0" normalizeH="0" noProof="0" dirty="0">
                <a:ln>
                  <a:noFill/>
                </a:ln>
                <a:solidFill>
                  <a:srgbClr val="000000"/>
                </a:solidFill>
                <a:effectLst/>
                <a:uLnTx/>
                <a:uFillTx/>
                <a:latin typeface="Segoe UI"/>
                <a:ea typeface="Segoe UI" panose="020B0502040204020203" pitchFamily="34" charset="0"/>
                <a:cs typeface="Segoe UI" panose="020B0502040204020203" pitchFamily="34" charset="0"/>
              </a:rPr>
              <a:t>be removed from all price lists on 9/1/16 but will stay in lead status in EA Indirect only in US and PR until 7/1/17 </a:t>
            </a:r>
            <a:endPar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a:p>
            <a:pPr marL="228600" marR="0" lvl="0" indent="-228600" algn="l" defTabSz="896218"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In countries where PSTN Conferencing is not available, customers can purchase the new “E5 w/out PSTN Conferencing” </a:t>
            </a:r>
            <a:r>
              <a:rPr lang="en-US" sz="1200" kern="0" dirty="0">
                <a:solidFill>
                  <a:srgbClr val="000000"/>
                </a:solidFill>
                <a:latin typeface="Segoe UI"/>
                <a:ea typeface="Segoe UI" panose="020B0502040204020203" pitchFamily="34" charset="0"/>
                <a:cs typeface="Segoe UI" panose="020B0502040204020203" pitchFamily="34" charset="0"/>
              </a:rPr>
              <a:t>SKU</a:t>
            </a:r>
            <a:r>
              <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 for $35</a:t>
            </a:r>
            <a:endParaRPr lang="en-US" sz="1200" kern="0" dirty="0">
              <a:solidFill>
                <a:srgbClr val="000000"/>
              </a:solidFill>
              <a:latin typeface="Segoe UI"/>
              <a:ea typeface="Segoe UI" panose="020B0502040204020203" pitchFamily="34" charset="0"/>
              <a:cs typeface="Segoe UI" panose="020B0502040204020203" pitchFamily="34" charset="0"/>
            </a:endParaRPr>
          </a:p>
          <a:p>
            <a:pPr marL="228600" marR="0" lvl="0" indent="-228600" algn="l" defTabSz="896218" rtl="0" eaLnBrk="1" fontAlgn="auto" latinLnBrk="0" hangingPunct="1">
              <a:lnSpc>
                <a:spcPct val="100000"/>
              </a:lnSpc>
              <a:spcBef>
                <a:spcPts val="0"/>
              </a:spcBef>
              <a:spcAft>
                <a:spcPts val="0"/>
              </a:spcAft>
              <a:buClrTx/>
              <a:buSzTx/>
              <a:buFontTx/>
              <a:buAutoNum type="arabicPeriod"/>
              <a:tabLst/>
              <a:defRPr/>
            </a:pPr>
            <a:endPar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 The $4 PSTN Conferencing Add-on will remain on the pricelists for Skype for Business Plan 2, Business Essentials, Business Premium, E1,</a:t>
            </a:r>
            <a:r>
              <a:rPr kumimoji="0" lang="en-US" sz="1200" b="0" i="0" u="none" strike="noStrike" kern="0" cap="none" spc="0" normalizeH="0" noProof="0" dirty="0">
                <a:ln>
                  <a:noFill/>
                </a:ln>
                <a:solidFill>
                  <a:srgbClr val="000000"/>
                </a:solidFill>
                <a:effectLst/>
                <a:uLnTx/>
                <a:uFillTx/>
                <a:latin typeface="Segoe UI"/>
                <a:ea typeface="Segoe UI" panose="020B0502040204020203" pitchFamily="34" charset="0"/>
                <a:cs typeface="Segoe UI" panose="020B0502040204020203" pitchFamily="34" charset="0"/>
              </a:rPr>
              <a:t> and E3 customers.</a:t>
            </a:r>
            <a:endPar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p:txBody>
      </p:sp>
      <p:sp>
        <p:nvSpPr>
          <p:cNvPr id="35" name="Rectangle 6"/>
          <p:cNvSpPr/>
          <p:nvPr/>
        </p:nvSpPr>
        <p:spPr bwMode="auto">
          <a:xfrm>
            <a:off x="908678" y="2435154"/>
            <a:ext cx="3501648" cy="105186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ts val="588"/>
              </a:spcAft>
              <a:buClrTx/>
              <a:buSzPct val="120000"/>
              <a:buFontTx/>
              <a:buNone/>
              <a:tabLst/>
              <a:defRPr/>
            </a:pPr>
            <a:r>
              <a:rPr kumimoji="0" lang="en-US" sz="2353" b="0" i="0" u="none" strike="noStrike" kern="0" cap="none" spc="0" normalizeH="0" baseline="0" noProof="0" dirty="0">
                <a:ln>
                  <a:noFill/>
                </a:ln>
                <a:solidFill>
                  <a:srgbClr val="FFFFFF"/>
                </a:solidFill>
                <a:effectLst/>
                <a:uLnTx/>
                <a:uFillTx/>
              </a:rPr>
              <a:t>Channel Availability</a:t>
            </a:r>
          </a:p>
        </p:txBody>
      </p:sp>
      <p:sp>
        <p:nvSpPr>
          <p:cNvPr id="37" name="Rectangle 36"/>
          <p:cNvSpPr/>
          <p:nvPr/>
        </p:nvSpPr>
        <p:spPr>
          <a:xfrm>
            <a:off x="4404434" y="3870882"/>
            <a:ext cx="7130314" cy="1051864"/>
          </a:xfrm>
          <a:prstGeom prst="rect">
            <a:avLst/>
          </a:prstGeom>
          <a:solidFill>
            <a:schemeClr val="bg1">
              <a:lumMod val="85000"/>
            </a:schemeClr>
          </a:solidFill>
          <a:ln w="10000" cap="flat" cmpd="sng" algn="ctr">
            <a:noFill/>
            <a:prstDash val="solid"/>
          </a:ln>
          <a:effectLst/>
        </p:spPr>
        <p:txBody>
          <a:bodyPr lIns="448212" rIns="358570" rtlCol="0" anchor="ctr"/>
          <a:lstStyle/>
          <a:p>
            <a:pPr marL="0" marR="0" lvl="0" indent="0" defTabSz="896218"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Will be in </a:t>
            </a:r>
            <a:r>
              <a:rPr kumimoji="0" lang="en-US" sz="1961" b="1"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65 Countries</a:t>
            </a:r>
            <a:r>
              <a:rPr kumimoji="0" lang="en-US" sz="1961"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 (see availability slide)</a:t>
            </a:r>
            <a:r>
              <a:rPr kumimoji="0" lang="en-US" sz="1800" b="0" i="0" u="none" strike="noStrike" kern="900" cap="none" spc="0" normalizeH="0" baseline="30000" noProof="0" dirty="0">
                <a:ln w="3175">
                  <a:noFill/>
                </a:ln>
                <a:solidFill>
                  <a:sysClr val="windowText" lastClr="000000"/>
                </a:solidFill>
                <a:effectLst/>
                <a:uLnTx/>
                <a:uFillTx/>
                <a:cs typeface="Segoe UI" panose="020B0502040204020203" pitchFamily="34" charset="0"/>
              </a:rPr>
              <a:t> 2</a:t>
            </a:r>
            <a:endParaRPr kumimoji="0" lang="en-US" sz="1961" b="1"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p:txBody>
      </p:sp>
      <p:sp>
        <p:nvSpPr>
          <p:cNvPr id="38" name="Rectangle 6"/>
          <p:cNvSpPr/>
          <p:nvPr/>
        </p:nvSpPr>
        <p:spPr bwMode="auto">
          <a:xfrm>
            <a:off x="905732" y="3870882"/>
            <a:ext cx="3501648" cy="105186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ts val="588"/>
              </a:spcAft>
              <a:buClrTx/>
              <a:buSzPct val="120000"/>
              <a:buFontTx/>
              <a:buNone/>
              <a:tabLst/>
              <a:defRPr/>
            </a:pPr>
            <a:r>
              <a:rPr kumimoji="0" lang="en-US" sz="2353" b="0" i="0" u="none" strike="noStrike" kern="0" cap="none" spc="0" normalizeH="0" baseline="0" noProof="0" dirty="0">
                <a:ln>
                  <a:noFill/>
                </a:ln>
                <a:solidFill>
                  <a:srgbClr val="FFFFFF"/>
                </a:solidFill>
                <a:effectLst/>
                <a:uLnTx/>
                <a:uFillTx/>
              </a:rPr>
              <a:t>GEO Availability</a:t>
            </a:r>
          </a:p>
        </p:txBody>
      </p:sp>
      <p:sp>
        <p:nvSpPr>
          <p:cNvPr id="12" name="Rectangle 11"/>
          <p:cNvSpPr/>
          <p:nvPr/>
        </p:nvSpPr>
        <p:spPr>
          <a:xfrm>
            <a:off x="275539" y="1139033"/>
            <a:ext cx="11730734" cy="878860"/>
          </a:xfrm>
          <a:prstGeom prst="rect">
            <a:avLst/>
          </a:prstGeom>
          <a:solidFill>
            <a:schemeClr val="bg1">
              <a:lumMod val="85000"/>
            </a:schemeClr>
          </a:solidFill>
          <a:ln w="10000" cap="flat" cmpd="sng" algn="ctr">
            <a:noFill/>
            <a:prstDash val="solid"/>
          </a:ln>
          <a:effectLst/>
        </p:spPr>
        <p:txBody>
          <a:bodyPr lIns="91440" rIns="9144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With the E5 “Single SKU”, customers will have an </a:t>
            </a:r>
            <a:r>
              <a:rPr kumimoji="0" lang="en-US" sz="1800" b="1" i="0" u="none" strike="noStrike" kern="0" cap="none" spc="0" normalizeH="0" baseline="0" noProof="0" dirty="0">
                <a:ln>
                  <a:noFill/>
                </a:ln>
                <a:solidFill>
                  <a:sysClr val="windowText" lastClr="000000"/>
                </a:solidFill>
                <a:effectLst/>
                <a:uLnTx/>
                <a:uFillTx/>
              </a:rPr>
              <a:t>improved purchasing experience by now only having to order a single SKU for $35 </a:t>
            </a:r>
            <a:r>
              <a:rPr kumimoji="0" lang="en-US" sz="1800" b="0" i="0" u="none" strike="noStrike" kern="0" cap="none" spc="0" normalizeH="0" baseline="0" noProof="0" dirty="0">
                <a:ln>
                  <a:noFill/>
                </a:ln>
                <a:solidFill>
                  <a:sysClr val="windowText" lastClr="000000"/>
                </a:solidFill>
                <a:effectLst/>
                <a:uLnTx/>
                <a:uFillTx/>
              </a:rPr>
              <a:t>which includes </a:t>
            </a:r>
            <a:r>
              <a:rPr kumimoji="0" lang="en-US" sz="1800" b="1" i="0" u="none" strike="noStrike" kern="0" cap="none" spc="0" normalizeH="0" baseline="0" noProof="0" dirty="0">
                <a:ln>
                  <a:noFill/>
                </a:ln>
                <a:solidFill>
                  <a:sysClr val="windowText" lastClr="000000"/>
                </a:solidFill>
                <a:effectLst/>
                <a:uLnTx/>
                <a:uFillTx/>
              </a:rPr>
              <a:t>everything in E5 including PSTN Conferencing</a:t>
            </a:r>
            <a:r>
              <a:rPr kumimoji="0" lang="en-US" sz="1800" b="0" i="0" u="none" strike="noStrike" kern="0" cap="none" spc="0" normalizeH="0" baseline="0" noProof="0" dirty="0">
                <a:ln>
                  <a:noFill/>
                </a:ln>
                <a:solidFill>
                  <a:sysClr val="windowText" lastClr="000000"/>
                </a:solidFill>
                <a:effectLst/>
                <a:uLnTx/>
                <a:uFillTx/>
              </a:rPr>
              <a:t>.  </a:t>
            </a:r>
          </a:p>
        </p:txBody>
      </p:sp>
    </p:spTree>
    <p:extLst>
      <p:ext uri="{BB962C8B-B14F-4D97-AF65-F5344CB8AC3E}">
        <p14:creationId xmlns:p14="http://schemas.microsoft.com/office/powerpoint/2010/main" val="170096245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t="9526" b="6180"/>
          <a:stretch/>
        </p:blipFill>
        <p:spPr>
          <a:xfrm>
            <a:off x="0" y="0"/>
            <a:ext cx="12192000" cy="6858000"/>
          </a:xfrm>
          <a:prstGeom prst="rect">
            <a:avLst/>
          </a:prstGeom>
        </p:spPr>
      </p:pic>
      <p:sp>
        <p:nvSpPr>
          <p:cNvPr id="8" name="Rectangle 7"/>
          <p:cNvSpPr/>
          <p:nvPr/>
        </p:nvSpPr>
        <p:spPr bwMode="auto">
          <a:xfrm>
            <a:off x="-6518" y="0"/>
            <a:ext cx="12198518" cy="6866880"/>
          </a:xfrm>
          <a:prstGeom prst="rect">
            <a:avLst/>
          </a:prstGeom>
          <a:solidFill>
            <a:srgbClr val="FFFFFF">
              <a:alpha val="89000"/>
            </a:srgbClr>
          </a:solidFill>
          <a:ln w="10000" cap="flat" cmpd="sng" algn="ctr">
            <a:noFill/>
            <a:prstDash val="solid"/>
            <a:headEnd type="none" w="med" len="med"/>
            <a:tailEnd type="none" w="med" len="med"/>
          </a:ln>
          <a:effectLst/>
        </p:spPr>
        <p:txBody>
          <a:bodyPr rot="0" spcFirstLastPara="0" vertOverflow="overflow" horzOverflow="overflow" vert="horz" wrap="square" lIns="143428" tIns="179285" rIns="0" bIns="114224" numCol="1" spcCol="0" rtlCol="0" fromWordArt="0" anchor="t" anchorCtr="0" forceAA="0" compatLnSpc="1">
            <a:prstTxWarp prst="textNoShape">
              <a:avLst/>
            </a:prstTxWarp>
            <a:noAutofit/>
          </a:bodyPr>
          <a:lstStyle/>
          <a:p>
            <a:pPr marL="0" marR="0" lvl="0" indent="0" algn="ctr" defTabSz="896218" rtl="0"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BFBFB"/>
              </a:solidFill>
              <a:effectLst/>
              <a:uLnTx/>
              <a:uFillTx/>
              <a:latin typeface="Segoe UI"/>
              <a:ea typeface="+mn-ea"/>
              <a:cs typeface="+mn-cs"/>
            </a:endParaRPr>
          </a:p>
        </p:txBody>
      </p:sp>
      <p:sp>
        <p:nvSpPr>
          <p:cNvPr id="7" name="TextBox 6"/>
          <p:cNvSpPr txBox="1"/>
          <p:nvPr/>
        </p:nvSpPr>
        <p:spPr>
          <a:xfrm>
            <a:off x="519248" y="5894592"/>
            <a:ext cx="11602844" cy="785415"/>
          </a:xfrm>
          <a:prstGeom prst="rect">
            <a:avLst/>
          </a:prstGeom>
          <a:noFill/>
        </p:spPr>
        <p:txBody>
          <a:bodyPr wrap="square" lIns="0" tIns="0" rIns="0" bIns="0" rtlCol="0" anchor="ctr">
            <a:noAutofit/>
          </a:bodyPr>
          <a:lstStyle/>
          <a:p>
            <a:pPr marR="0" lvl="0" algn="l" defTabSz="896218" rtl="0" eaLnBrk="1" fontAlgn="auto" latinLnBrk="0" hangingPunct="1">
              <a:lnSpc>
                <a:spcPct val="100000"/>
              </a:lnSpc>
              <a:spcBef>
                <a:spcPts val="0"/>
              </a:spcBef>
              <a:spcAft>
                <a:spcPts val="0"/>
              </a:spcAft>
              <a:buClrTx/>
              <a:buSzTx/>
              <a:tabLst/>
              <a:defRPr/>
            </a:pPr>
            <a:r>
              <a:rPr lang="en-US" sz="1200" kern="0" dirty="0">
                <a:solidFill>
                  <a:srgbClr val="000000"/>
                </a:solidFill>
                <a:latin typeface="Segoe UI"/>
                <a:ea typeface="Segoe UI" panose="020B0502040204020203" pitchFamily="34" charset="0"/>
                <a:cs typeface="Segoe UI" panose="020B0502040204020203" pitchFamily="34" charset="0"/>
              </a:rPr>
              <a:t>*The New E5 SKUs for $35 will not be available in Open. </a:t>
            </a:r>
            <a:r>
              <a:rPr lang="en-US" sz="1200" kern="0" dirty="0" err="1">
                <a:solidFill>
                  <a:srgbClr val="000000"/>
                </a:solidFill>
                <a:latin typeface="Segoe UI"/>
                <a:ea typeface="Segoe UI" panose="020B0502040204020203" pitchFamily="34" charset="0"/>
                <a:cs typeface="Segoe UI" panose="020B0502040204020203" pitchFamily="34" charset="0"/>
              </a:rPr>
              <a:t>Geoblocking</a:t>
            </a:r>
            <a:r>
              <a:rPr lang="en-US" sz="1200" kern="0" dirty="0">
                <a:solidFill>
                  <a:srgbClr val="000000"/>
                </a:solidFill>
                <a:latin typeface="Segoe UI"/>
                <a:ea typeface="Segoe UI" panose="020B0502040204020203" pitchFamily="34" charset="0"/>
                <a:cs typeface="Segoe UI" panose="020B0502040204020203" pitchFamily="34" charset="0"/>
              </a:rPr>
              <a:t> will be used to enforce the transaction of E5 (with Conferencing) in all Sell-to markets and the transaction of E5 w/o PSTN Conferencing in Non Sell-to markets</a:t>
            </a:r>
          </a:p>
          <a:p>
            <a:pPr marR="0" lvl="0" algn="l" defTabSz="896218" rtl="0" eaLnBrk="1" fontAlgn="auto" latinLnBrk="0" hangingPunct="1">
              <a:lnSpc>
                <a:spcPct val="100000"/>
              </a:lnSpc>
              <a:spcBef>
                <a:spcPts val="0"/>
              </a:spcBef>
              <a:spcAft>
                <a:spcPts val="0"/>
              </a:spcAft>
              <a:buClrTx/>
              <a:buSzTx/>
              <a:tabLst/>
              <a:defRPr/>
            </a:pPr>
            <a:endPar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a:p>
            <a:pPr marR="0" lvl="0" algn="l" defTabSz="896218" rtl="0" eaLnBrk="1" fontAlgn="auto" latinLnBrk="0" hangingPunct="1">
              <a:lnSpc>
                <a:spcPct val="100000"/>
              </a:lnSpc>
              <a:spcBef>
                <a:spcPts val="0"/>
              </a:spcBef>
              <a:spcAft>
                <a:spcPts val="0"/>
              </a:spcAft>
              <a:buClrTx/>
              <a:buSzTx/>
              <a:tabLst/>
              <a:defRPr/>
            </a:pPr>
            <a:r>
              <a:rPr lang="en-US" sz="1200" kern="0" dirty="0">
                <a:solidFill>
                  <a:srgbClr val="000000"/>
                </a:solidFill>
                <a:latin typeface="Segoe UI"/>
                <a:ea typeface="Segoe UI" panose="020B0502040204020203" pitchFamily="34" charset="0"/>
                <a:cs typeface="Segoe UI" panose="020B0502040204020203" pitchFamily="34" charset="0"/>
              </a:rPr>
              <a:t>For detailed transition information visit the </a:t>
            </a:r>
            <a:r>
              <a:rPr lang="en-US" sz="1200" kern="0" dirty="0">
                <a:solidFill>
                  <a:srgbClr val="000000"/>
                </a:solidFill>
                <a:latin typeface="Segoe UI"/>
                <a:ea typeface="Segoe UI" panose="020B0502040204020203" pitchFamily="34" charset="0"/>
                <a:cs typeface="Segoe UI" panose="020B0502040204020203" pitchFamily="34" charset="0"/>
                <a:hlinkClick r:id="rId4"/>
              </a:rPr>
              <a:t>E5 and </a:t>
            </a:r>
            <a:r>
              <a:rPr lang="en-US" sz="1200" kern="0" dirty="0" err="1">
                <a:solidFill>
                  <a:srgbClr val="000000"/>
                </a:solidFill>
                <a:latin typeface="Segoe UI"/>
                <a:ea typeface="Segoe UI" panose="020B0502040204020203" pitchFamily="34" charset="0"/>
                <a:cs typeface="Segoe UI" panose="020B0502040204020203" pitchFamily="34" charset="0"/>
                <a:hlinkClick r:id="rId4"/>
              </a:rPr>
              <a:t>SfB</a:t>
            </a:r>
            <a:r>
              <a:rPr lang="en-US" sz="1200" kern="0" dirty="0">
                <a:solidFill>
                  <a:srgbClr val="000000"/>
                </a:solidFill>
                <a:latin typeface="Segoe UI"/>
                <a:ea typeface="Segoe UI" panose="020B0502040204020203" pitchFamily="34" charset="0"/>
                <a:cs typeface="Segoe UI" panose="020B0502040204020203" pitchFamily="34" charset="0"/>
                <a:hlinkClick r:id="rId4"/>
              </a:rPr>
              <a:t> Licensing FAQ </a:t>
            </a:r>
            <a:endParaRPr kumimoji="0" lang="en-US" sz="12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p:txBody>
      </p:sp>
      <p:graphicFrame>
        <p:nvGraphicFramePr>
          <p:cNvPr id="4" name="Table 5"/>
          <p:cNvGraphicFramePr>
            <a:graphicFrameLocks noGrp="1"/>
          </p:cNvGraphicFramePr>
          <p:nvPr>
            <p:extLst>
              <p:ext uri="{D42A27DB-BD31-4B8C-83A1-F6EECF244321}">
                <p14:modId xmlns:p14="http://schemas.microsoft.com/office/powerpoint/2010/main" val="3536541875"/>
              </p:ext>
            </p:extLst>
          </p:nvPr>
        </p:nvGraphicFramePr>
        <p:xfrm>
          <a:off x="519248" y="1058446"/>
          <a:ext cx="11034576" cy="1844040"/>
        </p:xfrm>
        <a:graphic>
          <a:graphicData uri="http://schemas.openxmlformats.org/drawingml/2006/table">
            <a:tbl>
              <a:tblPr firstRow="1" bandRow="1">
                <a:tableStyleId>{5940675A-B579-460E-94D1-54222C63F5DA}</a:tableStyleId>
              </a:tblPr>
              <a:tblGrid>
                <a:gridCol w="4686933">
                  <a:extLst>
                    <a:ext uri="{9D8B030D-6E8A-4147-A177-3AD203B41FA5}">
                      <a16:colId xmlns:a16="http://schemas.microsoft.com/office/drawing/2014/main" val="20001"/>
                    </a:ext>
                  </a:extLst>
                </a:gridCol>
                <a:gridCol w="1823064">
                  <a:extLst>
                    <a:ext uri="{9D8B030D-6E8A-4147-A177-3AD203B41FA5}">
                      <a16:colId xmlns:a16="http://schemas.microsoft.com/office/drawing/2014/main" val="20004"/>
                    </a:ext>
                  </a:extLst>
                </a:gridCol>
                <a:gridCol w="546510">
                  <a:extLst>
                    <a:ext uri="{9D8B030D-6E8A-4147-A177-3AD203B41FA5}">
                      <a16:colId xmlns:a16="http://schemas.microsoft.com/office/drawing/2014/main" val="20006"/>
                    </a:ext>
                  </a:extLst>
                </a:gridCol>
                <a:gridCol w="2222090">
                  <a:extLst>
                    <a:ext uri="{9D8B030D-6E8A-4147-A177-3AD203B41FA5}">
                      <a16:colId xmlns:a16="http://schemas.microsoft.com/office/drawing/2014/main" val="20002"/>
                    </a:ext>
                  </a:extLst>
                </a:gridCol>
                <a:gridCol w="1755979">
                  <a:extLst>
                    <a:ext uri="{9D8B030D-6E8A-4147-A177-3AD203B41FA5}">
                      <a16:colId xmlns:a16="http://schemas.microsoft.com/office/drawing/2014/main" val="20005"/>
                    </a:ext>
                  </a:extLst>
                </a:gridCol>
              </a:tblGrid>
              <a:tr h="334239">
                <a:tc gridSpan="2">
                  <a:txBody>
                    <a:bodyPr/>
                    <a:lstStyle/>
                    <a:p>
                      <a:pPr algn="ctr"/>
                      <a:r>
                        <a:rPr lang="en-US" sz="1800" dirty="0">
                          <a:solidFill>
                            <a:schemeClr val="bg1"/>
                          </a:solidFill>
                        </a:rPr>
                        <a:t>Current Licensing SKU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hMerge="1">
                  <a:txBody>
                    <a:bodyPr/>
                    <a:lstStyle/>
                    <a:p>
                      <a:pPr algn="ctr"/>
                      <a:endParaRPr lang="en-US" sz="1800" dirty="0">
                        <a:solidFill>
                          <a:schemeClr val="bg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sz="400" dirty="0">
                        <a:solidFill>
                          <a:schemeClr val="bg1"/>
                        </a:solidFill>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gridSpan="2">
                  <a:txBody>
                    <a:bodyPr/>
                    <a:lstStyle/>
                    <a:p>
                      <a:pPr algn="ctr"/>
                      <a:r>
                        <a:rPr lang="en-US" sz="1800" dirty="0">
                          <a:solidFill>
                            <a:schemeClr val="bg1"/>
                          </a:solidFill>
                        </a:rPr>
                        <a:t>New Licensing SKUs</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hMerge="1">
                  <a:txBody>
                    <a:bodyPr/>
                    <a:lstStyle/>
                    <a:p>
                      <a:pPr algn="ctr"/>
                      <a:endParaRPr lang="en-US" sz="18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extLst>
                  <a:ext uri="{0D108BD9-81ED-4DB2-BD59-A6C34878D82A}">
                    <a16:rowId xmlns:a16="http://schemas.microsoft.com/office/drawing/2014/main" val="10007"/>
                  </a:ext>
                </a:extLst>
              </a:tr>
              <a:tr h="334239">
                <a:tc>
                  <a:txBody>
                    <a:bodyPr/>
                    <a:lstStyle/>
                    <a:p>
                      <a:pPr algn="ctr"/>
                      <a:r>
                        <a:rPr lang="en-US" sz="1800" dirty="0">
                          <a:solidFill>
                            <a:schemeClr val="bg1"/>
                          </a:solidFill>
                        </a:rPr>
                        <a:t>What</a:t>
                      </a:r>
                      <a:r>
                        <a:rPr lang="en-US" sz="1800" baseline="0" dirty="0">
                          <a:solidFill>
                            <a:schemeClr val="bg1"/>
                          </a:solidFill>
                        </a:rPr>
                        <a:t> they have</a:t>
                      </a:r>
                      <a:endParaRPr lang="en-US" sz="18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a:r>
                        <a:rPr lang="en-US" sz="1800" dirty="0">
                          <a:solidFill>
                            <a:schemeClr val="bg1"/>
                          </a:solidFill>
                        </a:rPr>
                        <a:t>Current Pri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tc>
                  <a:txBody>
                    <a:bodyPr/>
                    <a:lstStyle/>
                    <a:p>
                      <a:pPr algn="ctr"/>
                      <a:endParaRPr lang="en-US" sz="2000" dirty="0">
                        <a:solidFill>
                          <a:schemeClr val="tx1"/>
                        </a:solidFill>
                      </a:endParaRP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dirty="0">
                          <a:solidFill>
                            <a:schemeClr val="bg1"/>
                          </a:solidFill>
                        </a:rPr>
                        <a:t>New </a:t>
                      </a:r>
                      <a:r>
                        <a:rPr lang="en-US" sz="1800" baseline="0" dirty="0">
                          <a:solidFill>
                            <a:schemeClr val="bg1"/>
                          </a:solidFill>
                        </a:rPr>
                        <a:t>SKU</a:t>
                      </a:r>
                      <a:endParaRPr lang="en-US" sz="18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tc>
                  <a:txBody>
                    <a:bodyPr/>
                    <a:lstStyle/>
                    <a:p>
                      <a:pPr algn="ctr"/>
                      <a:r>
                        <a:rPr lang="en-US" sz="1800" dirty="0">
                          <a:solidFill>
                            <a:schemeClr val="bg1"/>
                          </a:solidFill>
                        </a:rPr>
                        <a:t>New Pri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extLst>
                  <a:ext uri="{0D108BD9-81ED-4DB2-BD59-A6C34878D82A}">
                    <a16:rowId xmlns:a16="http://schemas.microsoft.com/office/drawing/2014/main" val="10000"/>
                  </a:ext>
                </a:extLst>
              </a:tr>
              <a:tr h="370840">
                <a:tc>
                  <a:txBody>
                    <a:bodyPr/>
                    <a:lstStyle/>
                    <a:p>
                      <a:pPr algn="l"/>
                      <a:r>
                        <a:rPr lang="en-US" sz="1600" dirty="0">
                          <a:solidFill>
                            <a:schemeClr val="tx1"/>
                          </a:solidFill>
                        </a:rPr>
                        <a:t>E5</a:t>
                      </a:r>
                      <a:r>
                        <a:rPr lang="en-US" sz="1600" baseline="0" dirty="0">
                          <a:solidFill>
                            <a:schemeClr val="tx1"/>
                          </a:solidFill>
                        </a:rPr>
                        <a:t> + PSTN Conf Add-on</a:t>
                      </a:r>
                      <a:endParaRPr lang="en-US" sz="1600" dirty="0">
                        <a:solidFill>
                          <a:schemeClr val="tx1"/>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33</a:t>
                      </a:r>
                      <a:r>
                        <a:rPr lang="en-US" sz="1600" baseline="0" dirty="0">
                          <a:solidFill>
                            <a:schemeClr val="tx1"/>
                          </a:solidFill>
                        </a:rPr>
                        <a:t> + $2 = $35</a:t>
                      </a:r>
                      <a:endParaRPr lang="en-US"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rowSpan="2">
                  <a:txBody>
                    <a:bodyPr/>
                    <a:lstStyle/>
                    <a:p>
                      <a:pPr algn="l"/>
                      <a:r>
                        <a:rPr lang="en-US" sz="1600" dirty="0">
                          <a:solidFill>
                            <a:schemeClr val="bg1"/>
                          </a:solidFill>
                        </a:rPr>
                        <a:t>E5 (with</a:t>
                      </a:r>
                      <a:r>
                        <a:rPr lang="en-US" sz="1600" baseline="0" dirty="0">
                          <a:solidFill>
                            <a:schemeClr val="bg1"/>
                          </a:solidFill>
                        </a:rPr>
                        <a:t> Conf)*</a:t>
                      </a:r>
                      <a:endParaRPr lang="en-US" sz="1600" dirty="0">
                        <a:solidFill>
                          <a:schemeClr val="bg1"/>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rowSpan="2">
                  <a:txBody>
                    <a:bodyPr/>
                    <a:lstStyle/>
                    <a:p>
                      <a:pPr algn="ctr"/>
                      <a:r>
                        <a:rPr lang="en-US" sz="1600" dirty="0"/>
                        <a:t>$3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1"/>
                  </a:ext>
                </a:extLst>
              </a:tr>
              <a:tr h="370840">
                <a:tc>
                  <a:txBody>
                    <a:bodyPr/>
                    <a:lstStyle/>
                    <a:p>
                      <a:pPr algn="l"/>
                      <a:r>
                        <a:rPr lang="en-US" sz="1600" dirty="0">
                          <a:solidFill>
                            <a:schemeClr val="tx1"/>
                          </a:solidFill>
                        </a:rPr>
                        <a:t>E5</a:t>
                      </a:r>
                      <a:r>
                        <a:rPr lang="en-US" sz="1600" baseline="0" dirty="0">
                          <a:solidFill>
                            <a:schemeClr val="tx1"/>
                          </a:solidFill>
                        </a:rPr>
                        <a:t> only (</a:t>
                      </a:r>
                      <a:r>
                        <a:rPr lang="en-US" sz="1600" b="0" baseline="0" dirty="0">
                          <a:solidFill>
                            <a:schemeClr val="tx1"/>
                          </a:solidFill>
                        </a:rPr>
                        <a:t>PSTN Conferencing </a:t>
                      </a:r>
                      <a:r>
                        <a:rPr lang="en-US" sz="1600" baseline="0" dirty="0">
                          <a:solidFill>
                            <a:schemeClr val="tx1"/>
                          </a:solidFill>
                        </a:rPr>
                        <a:t>Sell-to Market)</a:t>
                      </a:r>
                      <a:endParaRPr lang="en-US" sz="1600" dirty="0">
                        <a:solidFill>
                          <a:schemeClr val="tx1"/>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3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vMerge="1">
                  <a:txBody>
                    <a:bodyPr/>
                    <a:lstStyle/>
                    <a:p>
                      <a:pPr algn="l"/>
                      <a:endParaRPr lang="en-US" sz="1600" dirty="0">
                        <a:solidFill>
                          <a:schemeClr val="bg1"/>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vMerge="1">
                  <a:txBody>
                    <a:bodyPr/>
                    <a:lstStyle/>
                    <a:p>
                      <a:pPr algn="ct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2"/>
                  </a:ext>
                </a:extLst>
              </a:tr>
              <a:tr h="370840">
                <a:tc>
                  <a:txBody>
                    <a:bodyPr/>
                    <a:lstStyle/>
                    <a:p>
                      <a:pPr algn="l"/>
                      <a:r>
                        <a:rPr lang="en-US" sz="1600" dirty="0">
                          <a:solidFill>
                            <a:schemeClr val="tx1"/>
                          </a:solidFill>
                        </a:rPr>
                        <a:t>E5 only (PSTN Conferencing Non Sell-To Market)</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3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a:r>
                        <a:rPr lang="en-US" sz="1600" dirty="0">
                          <a:solidFill>
                            <a:schemeClr val="bg1"/>
                          </a:solidFill>
                        </a:rPr>
                        <a:t>E5 w/o PSTN Conf*</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a:txBody>
                    <a:bodyPr/>
                    <a:lstStyle/>
                    <a:p>
                      <a:pPr algn="ctr"/>
                      <a:r>
                        <a:rPr lang="en-US" sz="1600" dirty="0"/>
                        <a:t>$3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102242506"/>
                  </a:ext>
                </a:extLst>
              </a:tr>
            </a:tbl>
          </a:graphicData>
        </a:graphic>
      </p:graphicFrame>
      <p:sp>
        <p:nvSpPr>
          <p:cNvPr id="6" name="Title 22"/>
          <p:cNvSpPr>
            <a:spLocks noGrp="1"/>
          </p:cNvSpPr>
          <p:nvPr>
            <p:ph type="title"/>
          </p:nvPr>
        </p:nvSpPr>
        <p:spPr/>
        <p:txBody>
          <a:bodyPr/>
          <a:lstStyle/>
          <a:p>
            <a:pPr defTabSz="914225">
              <a:lnSpc>
                <a:spcPts val="3500"/>
              </a:lnSpc>
              <a:defRPr/>
            </a:pPr>
            <a:r>
              <a:rPr lang="en-US" sz="3137" b="1" kern="900" spc="294" dirty="0">
                <a:solidFill>
                  <a:schemeClr val="accent1"/>
                </a:solidFill>
                <a:latin typeface="+mn-lt"/>
                <a:ea typeface="+mj-ea"/>
                <a:cs typeface="+mj-cs"/>
              </a:rPr>
              <a:t>E5 “SINGLE SKU” RENEWAL SCENARIOS</a:t>
            </a:r>
          </a:p>
        </p:txBody>
      </p:sp>
      <p:sp>
        <p:nvSpPr>
          <p:cNvPr id="10" name="Rectangle 9"/>
          <p:cNvSpPr/>
          <p:nvPr/>
        </p:nvSpPr>
        <p:spPr>
          <a:xfrm>
            <a:off x="519248" y="3331915"/>
            <a:ext cx="11034577" cy="604906"/>
          </a:xfrm>
          <a:prstGeom prst="rect">
            <a:avLst/>
          </a:prstGeom>
          <a:solidFill>
            <a:schemeClr val="bg1">
              <a:lumMod val="85000"/>
            </a:schemeClr>
          </a:solidFill>
          <a:ln w="10000" cap="flat" cmpd="sng" algn="ctr">
            <a:noFill/>
            <a:prstDash val="solid"/>
          </a:ln>
          <a:effectLst/>
        </p:spPr>
        <p:txBody>
          <a:bodyPr lIns="91440" rIns="91440" rtlCol="0" anchor="ctr"/>
          <a:lstStyle/>
          <a:p>
            <a:pPr lvl="0">
              <a:defRPr/>
            </a:pPr>
            <a:endParaRPr lang="en-US" sz="1400" b="1" dirty="0"/>
          </a:p>
          <a:p>
            <a:pPr lvl="0">
              <a:defRPr/>
            </a:pPr>
            <a:r>
              <a:rPr lang="en-US" dirty="0"/>
              <a:t>Due to the complexity of some transition scenarios, the old E5 and PSTN Add-on SKUs will remain available temporarily in some channels:</a:t>
            </a:r>
          </a:p>
          <a:p>
            <a:pPr marL="285750" lvl="0" indent="-285750">
              <a:buFont typeface="Arial" panose="020B0604020202020204" pitchFamily="34" charset="0"/>
              <a:buChar char="•"/>
              <a:defRPr/>
            </a:pPr>
            <a:endParaRPr kumimoji="0" lang="en-US" sz="1800" i="0" u="none" strike="noStrike" kern="0" cap="none" spc="0" normalizeH="0" baseline="0" noProof="0" dirty="0">
              <a:ln>
                <a:noFill/>
              </a:ln>
              <a:solidFill>
                <a:sysClr val="windowText" lastClr="000000"/>
              </a:solidFill>
              <a:effectLst/>
              <a:uLnTx/>
              <a:uFillTx/>
            </a:endParaRPr>
          </a:p>
        </p:txBody>
      </p:sp>
      <p:graphicFrame>
        <p:nvGraphicFramePr>
          <p:cNvPr id="12" name="Table 5"/>
          <p:cNvGraphicFramePr>
            <a:graphicFrameLocks noGrp="1"/>
          </p:cNvGraphicFramePr>
          <p:nvPr>
            <p:extLst>
              <p:ext uri="{D42A27DB-BD31-4B8C-83A1-F6EECF244321}">
                <p14:modId xmlns:p14="http://schemas.microsoft.com/office/powerpoint/2010/main" val="41479694"/>
              </p:ext>
            </p:extLst>
          </p:nvPr>
        </p:nvGraphicFramePr>
        <p:xfrm>
          <a:off x="519248" y="3936821"/>
          <a:ext cx="11034577" cy="1473515"/>
        </p:xfrm>
        <a:graphic>
          <a:graphicData uri="http://schemas.openxmlformats.org/drawingml/2006/table">
            <a:tbl>
              <a:tblPr firstRow="1" bandRow="1">
                <a:tableStyleId>{5940675A-B579-460E-94D1-54222C63F5DA}</a:tableStyleId>
              </a:tblPr>
              <a:tblGrid>
                <a:gridCol w="5094273">
                  <a:extLst>
                    <a:ext uri="{9D8B030D-6E8A-4147-A177-3AD203B41FA5}">
                      <a16:colId xmlns:a16="http://schemas.microsoft.com/office/drawing/2014/main" val="20001"/>
                    </a:ext>
                  </a:extLst>
                </a:gridCol>
                <a:gridCol w="3320754">
                  <a:extLst>
                    <a:ext uri="{9D8B030D-6E8A-4147-A177-3AD203B41FA5}">
                      <a16:colId xmlns:a16="http://schemas.microsoft.com/office/drawing/2014/main" val="20004"/>
                    </a:ext>
                  </a:extLst>
                </a:gridCol>
                <a:gridCol w="2619550">
                  <a:extLst>
                    <a:ext uri="{9D8B030D-6E8A-4147-A177-3AD203B41FA5}">
                      <a16:colId xmlns:a16="http://schemas.microsoft.com/office/drawing/2014/main" val="3430879407"/>
                    </a:ext>
                  </a:extLst>
                </a:gridCol>
              </a:tblGrid>
              <a:tr h="373837">
                <a:tc>
                  <a:txBody>
                    <a:bodyPr/>
                    <a:lstStyle/>
                    <a:p>
                      <a:pPr algn="ctr"/>
                      <a:endParaRPr lang="en-US" sz="1800" dirty="0">
                        <a:solidFill>
                          <a:schemeClr val="bg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800" dirty="0">
                          <a:solidFill>
                            <a:schemeClr val="bg1"/>
                          </a:solidFill>
                        </a:rPr>
                        <a:t>$33 E5 w/o PSTN SKU</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algn="ctr"/>
                      <a:r>
                        <a:rPr lang="en-US" sz="1800" dirty="0">
                          <a:solidFill>
                            <a:schemeClr val="bg1"/>
                          </a:solidFill>
                        </a:rPr>
                        <a:t>$2 PSTN Add-on</a:t>
                      </a:r>
                      <a:r>
                        <a:rPr lang="en-US" sz="1800" baseline="0" dirty="0">
                          <a:solidFill>
                            <a:schemeClr val="bg1"/>
                          </a:solidFill>
                        </a:rPr>
                        <a:t> SKU</a:t>
                      </a:r>
                      <a:endParaRPr lang="en-US" sz="18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extLst>
                  <a:ext uri="{0D108BD9-81ED-4DB2-BD59-A6C34878D82A}">
                    <a16:rowId xmlns:a16="http://schemas.microsoft.com/office/drawing/2014/main" val="10007"/>
                  </a:ext>
                </a:extLst>
              </a:tr>
              <a:tr h="341620">
                <a:tc>
                  <a:txBody>
                    <a:bodyPr/>
                    <a:lstStyle/>
                    <a:p>
                      <a:pPr algn="l"/>
                      <a:r>
                        <a:rPr lang="en-US" sz="1400" dirty="0">
                          <a:solidFill>
                            <a:schemeClr val="bg1"/>
                          </a:solidFill>
                        </a:rPr>
                        <a:t>Channe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gridSpan="2">
                  <a:txBody>
                    <a:bodyPr/>
                    <a:lstStyle/>
                    <a:p>
                      <a:pPr algn="ctr"/>
                      <a:r>
                        <a:rPr lang="en-US" sz="1400" dirty="0">
                          <a:solidFill>
                            <a:schemeClr val="bg1"/>
                          </a:solidFill>
                        </a:rPr>
                        <a:t>Available</a:t>
                      </a:r>
                      <a:r>
                        <a:rPr lang="en-US" sz="1400" baseline="0" dirty="0">
                          <a:solidFill>
                            <a:schemeClr val="bg1"/>
                          </a:solidFill>
                        </a:rPr>
                        <a:t> through</a:t>
                      </a:r>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tc hMerge="1">
                  <a:txBody>
                    <a:bodyPr/>
                    <a:lstStyle/>
                    <a:p>
                      <a:endParaRPr lang="en-US"/>
                    </a:p>
                  </a:txBody>
                  <a:tcPr/>
                </a:tc>
                <a:extLst>
                  <a:ext uri="{0D108BD9-81ED-4DB2-BD59-A6C34878D82A}">
                    <a16:rowId xmlns:a16="http://schemas.microsoft.com/office/drawing/2014/main" val="10000"/>
                  </a:ext>
                </a:extLst>
              </a:tr>
              <a:tr h="379029">
                <a:tc>
                  <a:txBody>
                    <a:bodyPr/>
                    <a:lstStyle/>
                    <a:p>
                      <a:pPr algn="l"/>
                      <a:r>
                        <a:rPr lang="en-US" dirty="0"/>
                        <a:t>EA/EES/School Indirect (US, PR)</a:t>
                      </a:r>
                      <a:r>
                        <a:rPr lang="en-US" baseline="0" dirty="0"/>
                        <a:t> Lead Status</a:t>
                      </a:r>
                      <a:endParaRPr lang="en-US" dirty="0"/>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7/1/201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t>7/1/201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10002"/>
                  </a:ext>
                </a:extLst>
              </a:tr>
              <a:tr h="379029">
                <a:tc>
                  <a:txBody>
                    <a:bodyPr/>
                    <a:lstStyle/>
                    <a:p>
                      <a:pPr algn="l"/>
                      <a:r>
                        <a:rPr lang="en-US" dirty="0"/>
                        <a:t>CSP/Open/Syndication*</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7/1/201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extLst>
                  <a:ext uri="{0D108BD9-81ED-4DB2-BD59-A6C34878D82A}">
                    <a16:rowId xmlns:a16="http://schemas.microsoft.com/office/drawing/2014/main" val="1361134828"/>
                  </a:ext>
                </a:extLst>
              </a:tr>
            </a:tbl>
          </a:graphicData>
        </a:graphic>
      </p:graphicFrame>
    </p:spTree>
    <p:extLst>
      <p:ext uri="{BB962C8B-B14F-4D97-AF65-F5344CB8AC3E}">
        <p14:creationId xmlns:p14="http://schemas.microsoft.com/office/powerpoint/2010/main" val="3996342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63" y="-10516"/>
            <a:ext cx="12190273" cy="6890039"/>
          </a:xfrm>
          <a:prstGeom prst="rect">
            <a:avLst/>
          </a:prstGeom>
        </p:spPr>
      </p:pic>
      <p:sp>
        <p:nvSpPr>
          <p:cNvPr id="20" name="Rectangle 19"/>
          <p:cNvSpPr/>
          <p:nvPr/>
        </p:nvSpPr>
        <p:spPr>
          <a:xfrm>
            <a:off x="-1" y="-21771"/>
            <a:ext cx="12176605" cy="6969325"/>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17" name="Rectangle 16"/>
          <p:cNvSpPr/>
          <p:nvPr/>
        </p:nvSpPr>
        <p:spPr>
          <a:xfrm>
            <a:off x="230129" y="1846029"/>
            <a:ext cx="4219505" cy="4231002"/>
          </a:xfrm>
          <a:prstGeom prst="rect">
            <a:avLst/>
          </a:prstGeom>
          <a:solidFill>
            <a:srgbClr val="FFFFFF">
              <a:lumMod val="85000"/>
            </a:srgbClr>
          </a:solidFill>
          <a:ln w="10000" cap="flat" cmpd="sng" algn="ctr">
            <a:noFill/>
            <a:prstDash val="solid"/>
          </a:ln>
          <a:effectLst/>
        </p:spPr>
        <p:txBody>
          <a:bodyPr lIns="182880" tIns="91440" rIns="182880" bIns="91440" rtlCol="0" anchor="ctr"/>
          <a:lstStyle/>
          <a:p>
            <a:pPr marL="0" marR="0" lvl="0" indent="0" algn="l" defTabSz="896046" rtl="0" eaLnBrk="1" fontAlgn="auto" latinLnBrk="0" hangingPunct="1">
              <a:lnSpc>
                <a:spcPct val="150000"/>
              </a:lnSpc>
              <a:spcBef>
                <a:spcPts val="0"/>
              </a:spcBef>
              <a:spcAft>
                <a:spcPts val="0"/>
              </a:spcAft>
              <a:buClrTx/>
              <a:buSzTx/>
              <a:buFontTx/>
              <a:buNone/>
              <a:tabLst/>
              <a:defRPr/>
            </a:pPr>
            <a:endParaRPr kumimoji="0" lang="en-US" sz="1961" b="1" i="0" u="none" strike="noStrike" kern="1200" cap="none" spc="0" normalizeH="0" baseline="0" noProof="0" dirty="0">
              <a:ln>
                <a:noFill/>
              </a:ln>
              <a:solidFill>
                <a:srgbClr val="33302E"/>
              </a:solidFill>
              <a:effectLst/>
              <a:uLnTx/>
              <a:uFillTx/>
              <a:latin typeface="Segoe UI"/>
              <a:ea typeface="+mn-ea"/>
              <a:cs typeface="Segoe UI Semibold" panose="020B0702040204020203" pitchFamily="34" charset="0"/>
            </a:endParaRPr>
          </a:p>
        </p:txBody>
      </p:sp>
      <p:sp>
        <p:nvSpPr>
          <p:cNvPr id="23" name="Title 22"/>
          <p:cNvSpPr>
            <a:spLocks noGrp="1"/>
          </p:cNvSpPr>
          <p:nvPr>
            <p:ph type="title"/>
          </p:nvPr>
        </p:nvSpPr>
        <p:spPr>
          <a:xfrm>
            <a:off x="230129" y="295251"/>
            <a:ext cx="11693654" cy="1066030"/>
          </a:xfrm>
        </p:spPr>
        <p:txBody>
          <a:bodyPr/>
          <a:lstStyle/>
          <a:p>
            <a:pPr defTabSz="913951">
              <a:lnSpc>
                <a:spcPts val="3499"/>
              </a:lnSpc>
              <a:defRPr/>
            </a:pPr>
            <a:r>
              <a:rPr lang="en-US" sz="3136" b="1" kern="900" spc="294" dirty="0">
                <a:solidFill>
                  <a:schemeClr val="accent1"/>
                </a:solidFill>
                <a:latin typeface="+mn-lt"/>
              </a:rPr>
              <a:t>NEW LICENSING MODEL - </a:t>
            </a:r>
            <a:r>
              <a:rPr lang="en-US" sz="3136" b="1" kern="900" spc="294" dirty="0">
                <a:solidFill>
                  <a:schemeClr val="accent1"/>
                </a:solidFill>
                <a:latin typeface="+mn-lt"/>
                <a:ea typeface="+mj-ea"/>
                <a:cs typeface="+mj-cs"/>
              </a:rPr>
              <a:t>STEP UPS FOR ADD-ONS </a:t>
            </a:r>
          </a:p>
        </p:txBody>
      </p:sp>
      <p:grpSp>
        <p:nvGrpSpPr>
          <p:cNvPr id="2" name="Group 1"/>
          <p:cNvGrpSpPr/>
          <p:nvPr/>
        </p:nvGrpSpPr>
        <p:grpSpPr>
          <a:xfrm>
            <a:off x="4536691" y="1954270"/>
            <a:ext cx="7256315" cy="4122761"/>
            <a:chOff x="577165" y="1741806"/>
            <a:chExt cx="7403747" cy="3816575"/>
          </a:xfrm>
        </p:grpSpPr>
        <p:sp>
          <p:nvSpPr>
            <p:cNvPr id="22" name="Rectangle 9"/>
            <p:cNvSpPr/>
            <p:nvPr/>
          </p:nvSpPr>
          <p:spPr bwMode="auto">
            <a:xfrm>
              <a:off x="577165" y="4700208"/>
              <a:ext cx="3571863" cy="858173"/>
            </a:xfrm>
            <a:prstGeom prst="rect">
              <a:avLst/>
            </a:prstGeom>
            <a:solidFill>
              <a:schemeClr val="tx1">
                <a:lumMod val="50000"/>
                <a:lumOff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44809" bIns="44809" numCol="1" spcCol="0" rtlCol="0" fromWordArt="0" anchor="ctr" anchorCtr="0" forceAA="0" compatLnSpc="1">
              <a:prstTxWarp prst="textNoShape">
                <a:avLst/>
              </a:prstTxWarp>
              <a:noAutofit/>
            </a:bodyPr>
            <a:lstStyle/>
            <a:p>
              <a:pPr marL="0" marR="0" lvl="0" indent="0" algn="ctr" defTabSz="895822" rtl="0" eaLnBrk="1" fontAlgn="base" latinLnBrk="0" hangingPunct="1">
                <a:lnSpc>
                  <a:spcPct val="100000"/>
                </a:lnSpc>
                <a:spcBef>
                  <a:spcPct val="0"/>
                </a:spcBef>
                <a:spcAft>
                  <a:spcPts val="588"/>
                </a:spcAft>
                <a:buClrTx/>
                <a:buSzPct val="120000"/>
                <a:buFontTx/>
                <a:buNone/>
                <a:tabLst/>
                <a:defRPr/>
              </a:pPr>
              <a:r>
                <a:rPr kumimoji="0" lang="en-US" sz="3136" b="1" i="0" u="none" strike="noStrike" kern="0" cap="none" spc="98" normalizeH="0" baseline="0" noProof="0" dirty="0">
                  <a:ln>
                    <a:noFill/>
                  </a:ln>
                  <a:solidFill>
                    <a:prstClr val="white"/>
                  </a:solidFill>
                  <a:effectLst/>
                  <a:uLnTx/>
                  <a:uFillTx/>
                  <a:latin typeface="Segoe UI"/>
                  <a:ea typeface="+mn-ea"/>
                  <a:cs typeface="+mn-cs"/>
                </a:rPr>
                <a:t>E3 Add-on</a:t>
              </a:r>
              <a:endParaRPr kumimoji="0" lang="en-US" sz="1960" b="1" i="0" u="none" strike="noStrike" kern="0" cap="none" spc="98" normalizeH="0" baseline="0" noProof="0" dirty="0">
                <a:ln>
                  <a:noFill/>
                </a:ln>
                <a:solidFill>
                  <a:prstClr val="white"/>
                </a:solidFill>
                <a:effectLst/>
                <a:uLnTx/>
                <a:uFillTx/>
                <a:latin typeface="Segoe UI"/>
                <a:ea typeface="+mn-ea"/>
                <a:cs typeface="+mn-cs"/>
              </a:endParaRPr>
            </a:p>
          </p:txBody>
        </p:sp>
        <p:sp>
          <p:nvSpPr>
            <p:cNvPr id="24" name="Rectangle 9"/>
            <p:cNvSpPr/>
            <p:nvPr/>
          </p:nvSpPr>
          <p:spPr bwMode="auto">
            <a:xfrm>
              <a:off x="4409049" y="4700208"/>
              <a:ext cx="3571863" cy="858173"/>
            </a:xfrm>
            <a:prstGeom prst="rect">
              <a:avLst/>
            </a:prstGeom>
            <a:solidFill>
              <a:schemeClr val="tx1">
                <a:lumMod val="50000"/>
                <a:lumOff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44809" bIns="44809" numCol="1" spcCol="0" rtlCol="0" fromWordArt="0" anchor="ctr" anchorCtr="0" forceAA="0" compatLnSpc="1">
              <a:prstTxWarp prst="textNoShape">
                <a:avLst/>
              </a:prstTxWarp>
              <a:noAutofit/>
            </a:bodyPr>
            <a:lstStyle/>
            <a:p>
              <a:pPr marL="0" marR="0" lvl="0" indent="0" algn="ctr" defTabSz="895822" rtl="0" eaLnBrk="1" fontAlgn="base" latinLnBrk="0" hangingPunct="1">
                <a:lnSpc>
                  <a:spcPct val="100000"/>
                </a:lnSpc>
                <a:spcBef>
                  <a:spcPct val="0"/>
                </a:spcBef>
                <a:spcAft>
                  <a:spcPts val="588"/>
                </a:spcAft>
                <a:buClrTx/>
                <a:buSzPct val="120000"/>
                <a:buFontTx/>
                <a:buNone/>
                <a:tabLst/>
                <a:defRPr/>
              </a:pPr>
              <a:r>
                <a:rPr kumimoji="0" lang="en-US" sz="3136" b="1" i="0" u="none" strike="noStrike" kern="0" cap="none" spc="98" normalizeH="0" baseline="0" noProof="0" dirty="0">
                  <a:ln>
                    <a:noFill/>
                  </a:ln>
                  <a:solidFill>
                    <a:prstClr val="white"/>
                  </a:solidFill>
                  <a:effectLst/>
                  <a:uLnTx/>
                  <a:uFillTx/>
                  <a:latin typeface="Segoe UI"/>
                  <a:ea typeface="+mn-ea"/>
                  <a:cs typeface="+mn-cs"/>
                </a:rPr>
                <a:t>E4 Add-on</a:t>
              </a:r>
            </a:p>
          </p:txBody>
        </p:sp>
        <p:sp>
          <p:nvSpPr>
            <p:cNvPr id="32" name="Isosceles Triangle 31"/>
            <p:cNvSpPr/>
            <p:nvPr/>
          </p:nvSpPr>
          <p:spPr>
            <a:xfrm>
              <a:off x="577165" y="2944253"/>
              <a:ext cx="7403747" cy="473580"/>
            </a:xfrm>
            <a:prstGeom prst="triangle">
              <a:avLst/>
            </a:prstGeom>
            <a:solidFill>
              <a:schemeClr val="tx1">
                <a:lumMod val="50000"/>
                <a:lumOff val="50000"/>
              </a:schemeClr>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E4DED8"/>
                </a:solidFill>
                <a:effectLst/>
                <a:uLnTx/>
                <a:uFillTx/>
                <a:latin typeface="Segoe UI"/>
                <a:ea typeface="+mn-ea"/>
                <a:cs typeface="+mn-cs"/>
              </a:endParaRPr>
            </a:p>
          </p:txBody>
        </p:sp>
        <p:sp>
          <p:nvSpPr>
            <p:cNvPr id="33" name="Rectangle 6"/>
            <p:cNvSpPr/>
            <p:nvPr/>
          </p:nvSpPr>
          <p:spPr bwMode="auto">
            <a:xfrm>
              <a:off x="2493105" y="1741806"/>
              <a:ext cx="3571864" cy="978922"/>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89619" tIns="44809" rIns="44809" bIns="44809" numCol="1" spcCol="0" rtlCol="0" fromWordArt="0" anchor="ctr" anchorCtr="0" forceAA="0" compatLnSpc="1">
              <a:prstTxWarp prst="textNoShape">
                <a:avLst/>
              </a:prstTxWarp>
              <a:noAutofit/>
            </a:bodyPr>
            <a:lstStyle/>
            <a:p>
              <a:pPr marL="0" marR="0" lvl="0" indent="0" algn="ctr" defTabSz="895822" rtl="0" eaLnBrk="1" fontAlgn="base" latinLnBrk="0" hangingPunct="1">
                <a:lnSpc>
                  <a:spcPct val="100000"/>
                </a:lnSpc>
                <a:spcBef>
                  <a:spcPct val="0"/>
                </a:spcBef>
                <a:spcAft>
                  <a:spcPts val="588"/>
                </a:spcAft>
                <a:buClrTx/>
                <a:buSzPct val="120000"/>
                <a:buFontTx/>
                <a:buNone/>
                <a:tabLst/>
                <a:defRPr/>
              </a:pPr>
              <a:r>
                <a:rPr kumimoji="0" lang="en-US" sz="3528" b="1" i="0" u="none" strike="noStrike" kern="0" cap="none" spc="98" normalizeH="0" baseline="0" noProof="0" dirty="0">
                  <a:ln>
                    <a:noFill/>
                  </a:ln>
                  <a:solidFill>
                    <a:srgbClr val="FFFFFF"/>
                  </a:solidFill>
                  <a:effectLst/>
                  <a:uLnTx/>
                  <a:uFillTx/>
                  <a:latin typeface="Segoe UI"/>
                  <a:ea typeface="+mn-ea"/>
                  <a:cs typeface="+mn-cs"/>
                </a:rPr>
                <a:t>E5 Add-on</a:t>
              </a:r>
              <a:endParaRPr kumimoji="0" lang="en-US" sz="1764" b="1" i="0" u="none" strike="noStrike" kern="0" cap="none" spc="98" normalizeH="0" baseline="30000" noProof="0" dirty="0">
                <a:ln>
                  <a:noFill/>
                </a:ln>
                <a:solidFill>
                  <a:srgbClr val="FFFFFF"/>
                </a:solidFill>
                <a:effectLst/>
                <a:uLnTx/>
                <a:uFillTx/>
                <a:latin typeface="Segoe UI"/>
                <a:ea typeface="+mn-ea"/>
                <a:cs typeface="+mn-cs"/>
              </a:endParaRPr>
            </a:p>
          </p:txBody>
        </p:sp>
        <p:sp>
          <p:nvSpPr>
            <p:cNvPr id="34" name="Rectangle 6"/>
            <p:cNvSpPr/>
            <p:nvPr/>
          </p:nvSpPr>
          <p:spPr bwMode="auto">
            <a:xfrm>
              <a:off x="577165" y="3851378"/>
              <a:ext cx="3571863" cy="858173"/>
            </a:xfrm>
            <a:prstGeom prst="rect">
              <a:avLst/>
            </a:prstGeom>
            <a:solidFill>
              <a:schemeClr val="bg1">
                <a:lumMod val="95000"/>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89619" rIns="44809" bIns="44809" numCol="1" spcCol="0" rtlCol="0" fromWordArt="0" anchor="t" anchorCtr="0" forceAA="0" compatLnSpc="1">
              <a:prstTxWarp prst="textNoShape">
                <a:avLst/>
              </a:prstTxWarp>
              <a:noAutofit/>
            </a:bodyPr>
            <a:lstStyle/>
            <a:p>
              <a:pPr marL="0" marR="0" lvl="0" indent="0" algn="ctr" defTabSz="895822" rtl="0" eaLnBrk="1" fontAlgn="base" latinLnBrk="0" hangingPunct="1">
                <a:lnSpc>
                  <a:spcPct val="100000"/>
                </a:lnSpc>
                <a:spcBef>
                  <a:spcPct val="0"/>
                </a:spcBef>
                <a:spcAft>
                  <a:spcPts val="588"/>
                </a:spcAft>
                <a:buClrTx/>
                <a:buSzPct val="120000"/>
                <a:buFontTx/>
                <a:buNone/>
                <a:tabLst/>
                <a:defRPr/>
              </a:pPr>
              <a:r>
                <a:rPr kumimoji="0" lang="en-US" sz="1960" b="1" i="0" u="none" strike="noStrike" kern="0" cap="none" spc="98" normalizeH="0" baseline="0" noProof="0" dirty="0">
                  <a:ln>
                    <a:noFill/>
                  </a:ln>
                  <a:solidFill>
                    <a:srgbClr val="DC3C00"/>
                  </a:solidFill>
                  <a:effectLst/>
                  <a:uLnTx/>
                  <a:uFillTx/>
                  <a:latin typeface="Segoe UI"/>
                  <a:ea typeface="+mn-ea"/>
                  <a:cs typeface="+mn-cs"/>
                </a:rPr>
                <a:t>Step Up to E5 Add-on</a:t>
              </a:r>
              <a:endParaRPr kumimoji="0" lang="en-US" sz="1372" b="1" i="0" u="none" strike="noStrike" kern="0" cap="none" spc="98" normalizeH="0" baseline="30000" noProof="0" dirty="0">
                <a:ln>
                  <a:noFill/>
                </a:ln>
                <a:solidFill>
                  <a:srgbClr val="DC3C00"/>
                </a:solidFill>
                <a:effectLst/>
                <a:uLnTx/>
                <a:uFillTx/>
                <a:latin typeface="Segoe UI"/>
                <a:ea typeface="+mn-ea"/>
                <a:cs typeface="+mn-cs"/>
              </a:endParaRPr>
            </a:p>
          </p:txBody>
        </p:sp>
        <p:sp>
          <p:nvSpPr>
            <p:cNvPr id="35" name="Rectangle 6"/>
            <p:cNvSpPr/>
            <p:nvPr/>
          </p:nvSpPr>
          <p:spPr bwMode="auto">
            <a:xfrm>
              <a:off x="4409048" y="3851377"/>
              <a:ext cx="3571863" cy="858173"/>
            </a:xfrm>
            <a:prstGeom prst="rect">
              <a:avLst/>
            </a:prstGeom>
            <a:solidFill>
              <a:schemeClr val="bg1">
                <a:lumMod val="95000"/>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89619" rIns="44809" bIns="44809" numCol="1" spcCol="0" rtlCol="0" fromWordArt="0" anchor="t" anchorCtr="0" forceAA="0" compatLnSpc="1">
              <a:prstTxWarp prst="textNoShape">
                <a:avLst/>
              </a:prstTxWarp>
              <a:noAutofit/>
            </a:bodyPr>
            <a:lstStyle/>
            <a:p>
              <a:pPr marL="0" marR="0" lvl="0" indent="0" algn="ctr" defTabSz="895822" rtl="0" eaLnBrk="1" fontAlgn="base" latinLnBrk="0" hangingPunct="1">
                <a:lnSpc>
                  <a:spcPct val="100000"/>
                </a:lnSpc>
                <a:spcBef>
                  <a:spcPct val="0"/>
                </a:spcBef>
                <a:spcAft>
                  <a:spcPts val="588"/>
                </a:spcAft>
                <a:buClrTx/>
                <a:buSzPct val="120000"/>
                <a:buFontTx/>
                <a:buNone/>
                <a:tabLst/>
                <a:defRPr/>
              </a:pPr>
              <a:r>
                <a:rPr kumimoji="0" lang="en-US" sz="1960" b="1" i="0" u="none" strike="noStrike" kern="0" cap="none" spc="98" normalizeH="0" baseline="0" noProof="0" dirty="0">
                  <a:ln>
                    <a:noFill/>
                  </a:ln>
                  <a:solidFill>
                    <a:srgbClr val="DC3C00"/>
                  </a:solidFill>
                  <a:effectLst/>
                  <a:uLnTx/>
                  <a:uFillTx/>
                  <a:latin typeface="Segoe UI"/>
                  <a:ea typeface="+mn-ea"/>
                  <a:cs typeface="+mn-cs"/>
                </a:rPr>
                <a:t>Step Up to E5 Add-on</a:t>
              </a:r>
              <a:endParaRPr kumimoji="0" lang="en-US" sz="1372" b="1" i="0" u="none" strike="noStrike" kern="0" cap="none" spc="98" normalizeH="0" baseline="30000" noProof="0" dirty="0">
                <a:ln>
                  <a:noFill/>
                </a:ln>
                <a:solidFill>
                  <a:srgbClr val="DC3C00"/>
                </a:solidFill>
                <a:effectLst/>
                <a:uLnTx/>
                <a:uFillTx/>
                <a:latin typeface="Segoe UI"/>
                <a:ea typeface="+mn-ea"/>
                <a:cs typeface="+mn-cs"/>
              </a:endParaRPr>
            </a:p>
          </p:txBody>
        </p:sp>
        <p:sp>
          <p:nvSpPr>
            <p:cNvPr id="37" name="Rectangle 6"/>
            <p:cNvSpPr/>
            <p:nvPr/>
          </p:nvSpPr>
          <p:spPr bwMode="auto">
            <a:xfrm>
              <a:off x="577165" y="3448874"/>
              <a:ext cx="3571863" cy="4139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44809" bIns="44809" numCol="1" spcCol="0" rtlCol="0" fromWordArt="0" anchor="ctr" anchorCtr="0" forceAA="0" compatLnSpc="1">
              <a:prstTxWarp prst="textNoShape">
                <a:avLst/>
              </a:prstTxWarp>
              <a:noAutofit/>
            </a:bodyPr>
            <a:lstStyle/>
            <a:p>
              <a:pPr marL="0" marR="0" lvl="0" indent="0" algn="ctr" defTabSz="895822" rtl="0" eaLnBrk="1" fontAlgn="base" latinLnBrk="0" hangingPunct="1">
                <a:lnSpc>
                  <a:spcPct val="100000"/>
                </a:lnSpc>
                <a:spcBef>
                  <a:spcPct val="0"/>
                </a:spcBef>
                <a:spcAft>
                  <a:spcPts val="588"/>
                </a:spcAft>
                <a:buClrTx/>
                <a:buSzPct val="120000"/>
                <a:buFontTx/>
                <a:buNone/>
                <a:tabLst/>
                <a:defRPr/>
              </a:pPr>
              <a:r>
                <a:rPr kumimoji="0" lang="en-US" sz="2352" b="0" i="0" u="none" strike="noStrike" kern="0" cap="none" spc="0" normalizeH="0" baseline="0" noProof="0" dirty="0">
                  <a:ln>
                    <a:noFill/>
                  </a:ln>
                  <a:solidFill>
                    <a:srgbClr val="FFFFFF"/>
                  </a:solidFill>
                  <a:effectLst/>
                  <a:uLnTx/>
                  <a:uFillTx/>
                  <a:latin typeface="Segoe UI"/>
                  <a:ea typeface="+mn-ea"/>
                  <a:cs typeface="+mn-cs"/>
                </a:rPr>
                <a:t>$13</a:t>
              </a:r>
            </a:p>
          </p:txBody>
        </p:sp>
        <p:sp>
          <p:nvSpPr>
            <p:cNvPr id="38" name="Rectangle 6"/>
            <p:cNvSpPr/>
            <p:nvPr/>
          </p:nvSpPr>
          <p:spPr bwMode="auto">
            <a:xfrm>
              <a:off x="4409048" y="3445881"/>
              <a:ext cx="3571863" cy="413937"/>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44809" bIns="44809" numCol="1" spcCol="0" rtlCol="0" fromWordArt="0" anchor="ctr" anchorCtr="0" forceAA="0" compatLnSpc="1">
              <a:prstTxWarp prst="textNoShape">
                <a:avLst/>
              </a:prstTxWarp>
              <a:noAutofit/>
            </a:bodyPr>
            <a:lstStyle/>
            <a:p>
              <a:pPr marL="0" marR="0" lvl="0" indent="0" algn="ctr" defTabSz="895822" rtl="0" eaLnBrk="1" fontAlgn="base" latinLnBrk="0" hangingPunct="1">
                <a:lnSpc>
                  <a:spcPct val="100000"/>
                </a:lnSpc>
                <a:spcBef>
                  <a:spcPct val="0"/>
                </a:spcBef>
                <a:spcAft>
                  <a:spcPts val="588"/>
                </a:spcAft>
                <a:buClrTx/>
                <a:buSzPct val="120000"/>
                <a:buFontTx/>
                <a:buNone/>
                <a:tabLst/>
                <a:defRPr/>
              </a:pPr>
              <a:r>
                <a:rPr kumimoji="0" lang="en-US" sz="2352" b="0" i="0" u="none" strike="noStrike" kern="0" cap="none" spc="0" normalizeH="0" baseline="0" noProof="0" dirty="0">
                  <a:ln>
                    <a:noFill/>
                  </a:ln>
                  <a:solidFill>
                    <a:srgbClr val="FFFFFF"/>
                  </a:solidFill>
                  <a:effectLst/>
                  <a:uLnTx/>
                  <a:uFillTx/>
                  <a:latin typeface="Segoe UI"/>
                  <a:ea typeface="+mn-ea"/>
                  <a:cs typeface="+mn-cs"/>
                </a:rPr>
                <a:t>$11.30</a:t>
              </a:r>
            </a:p>
          </p:txBody>
        </p:sp>
      </p:grpSp>
      <p:sp>
        <p:nvSpPr>
          <p:cNvPr id="41" name="Freeform 7"/>
          <p:cNvSpPr>
            <a:spLocks noEditPoints="1"/>
          </p:cNvSpPr>
          <p:nvPr/>
        </p:nvSpPr>
        <p:spPr bwMode="black">
          <a:xfrm>
            <a:off x="6123472" y="4735641"/>
            <a:ext cx="327174" cy="277933"/>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EC5038"/>
          </a:solidFill>
          <a:ln>
            <a:noFill/>
          </a:ln>
          <a:extLst/>
        </p:spPr>
        <p:txBody>
          <a:bodyPr vert="horz" wrap="square" lIns="89619" tIns="44809" rIns="89619" bIns="448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sp>
        <p:nvSpPr>
          <p:cNvPr id="42" name="Freeform 7"/>
          <p:cNvSpPr>
            <a:spLocks noEditPoints="1"/>
          </p:cNvSpPr>
          <p:nvPr/>
        </p:nvSpPr>
        <p:spPr bwMode="black">
          <a:xfrm>
            <a:off x="9879050" y="4735642"/>
            <a:ext cx="327174" cy="277933"/>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EC5038"/>
          </a:solidFill>
          <a:ln>
            <a:noFill/>
          </a:ln>
          <a:extLst/>
        </p:spPr>
        <p:txBody>
          <a:bodyPr vert="horz" wrap="square" lIns="89619" tIns="44809" rIns="89619" bIns="448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Segoe UI"/>
              <a:ea typeface="+mn-ea"/>
              <a:cs typeface="+mn-cs"/>
            </a:endParaRPr>
          </a:p>
        </p:txBody>
      </p:sp>
      <p:sp>
        <p:nvSpPr>
          <p:cNvPr id="25" name="TextBox 24"/>
          <p:cNvSpPr txBox="1"/>
          <p:nvPr/>
        </p:nvSpPr>
        <p:spPr>
          <a:xfrm>
            <a:off x="143073" y="1846029"/>
            <a:ext cx="4306561" cy="4231001"/>
          </a:xfrm>
          <a:prstGeom prst="rect">
            <a:avLst/>
          </a:prstGeom>
          <a:solidFill>
            <a:srgbClr val="FFFFFF">
              <a:lumMod val="95000"/>
              <a:alpha val="55000"/>
            </a:srgbClr>
          </a:solidFill>
        </p:spPr>
        <p:txBody>
          <a:bodyPr wrap="square" lIns="179238" tIns="143391" rIns="179238" bIns="143391" rtlCol="0" anchor="ctr">
            <a:noAutofit/>
          </a:bodyPr>
          <a:lstStyle/>
          <a:p>
            <a:pPr marL="0" marR="0" lvl="0" indent="0" algn="l" defTabSz="895949" rtl="0" eaLnBrk="1" fontAlgn="auto" latinLnBrk="0" hangingPunct="1">
              <a:lnSpc>
                <a:spcPct val="90000"/>
              </a:lnSpc>
              <a:spcBef>
                <a:spcPts val="0"/>
              </a:spcBef>
              <a:spcAft>
                <a:spcPts val="588"/>
              </a:spcAft>
              <a:buClrTx/>
              <a:buSzTx/>
              <a:buFontTx/>
              <a:buNone/>
              <a:tabLst/>
              <a:defRPr/>
            </a:pP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171399" marR="0" lvl="0" indent="-171399" algn="l" defTabSz="895949"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8 new Step-up Add-on SKUs:</a:t>
            </a:r>
          </a:p>
          <a:p>
            <a:pPr marL="628599" marR="0" lvl="1" indent="-171399" algn="l" defTabSz="895949"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E3-&gt;E5 and E4-&gt;E5</a:t>
            </a:r>
          </a:p>
          <a:p>
            <a:pPr marL="628599" marR="0" lvl="1" indent="-171399" algn="l" defTabSz="895949"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a:t>
            </a:r>
            <a:r>
              <a:rPr kumimoji="0" lang="en-US" sz="2000" b="0" i="0" u="none" strike="noStrike" kern="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CoreCal</a:t>
            </a: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vs. ECAL</a:t>
            </a:r>
          </a:p>
          <a:p>
            <a:pPr marL="628599" marR="0" lvl="1" indent="-171399" algn="l" defTabSz="895949"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For Device vs. User Licensing</a:t>
            </a:r>
          </a:p>
          <a:p>
            <a:pPr marL="800100" marR="0" lvl="1" indent="-342900" algn="l" defTabSz="895949" rtl="0" eaLnBrk="1" fontAlgn="auto" latinLnBrk="0" hangingPunct="1">
              <a:lnSpc>
                <a:spcPct val="90000"/>
              </a:lnSpc>
              <a:spcBef>
                <a:spcPts val="0"/>
              </a:spcBef>
              <a:spcAft>
                <a:spcPts val="588"/>
              </a:spcAft>
              <a:buClrTx/>
              <a:buSzTx/>
              <a:buFont typeface="Arial" panose="020B0604020202020204" pitchFamily="34" charset="0"/>
              <a:buChar char="•"/>
              <a:tabLst/>
              <a:defRPr/>
            </a:pP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a:p>
            <a:pPr marL="342900" marR="0" lvl="0" indent="-342900" algn="l" defTabSz="895949" rtl="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charset="0"/>
                <a:ea typeface="+mn-ea"/>
                <a:cs typeface="+mn-cs"/>
              </a:rPr>
              <a:t>Price is calculated as the difference between two SKUs </a:t>
            </a:r>
          </a:p>
          <a:p>
            <a:pPr marL="0" marR="0" lvl="0" indent="0" algn="l" defTabSz="895949" rtl="0" eaLnBrk="1" fontAlgn="auto" latinLnBrk="0" hangingPunct="1">
              <a:lnSpc>
                <a:spcPct val="90000"/>
              </a:lnSpc>
              <a:spcBef>
                <a:spcPts val="0"/>
              </a:spcBef>
              <a:spcAft>
                <a:spcPts val="588"/>
              </a:spcAft>
              <a:buClrTx/>
              <a:buSzTx/>
              <a:buFontTx/>
              <a:buNone/>
              <a:tabLst/>
              <a:defRPr/>
            </a:pPr>
            <a:endParaRPr kumimoji="0" lang="en-US" sz="2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16" name="Freeform 15"/>
          <p:cNvSpPr/>
          <p:nvPr/>
        </p:nvSpPr>
        <p:spPr>
          <a:xfrm>
            <a:off x="243687" y="1037298"/>
            <a:ext cx="4641464" cy="792071"/>
          </a:xfrm>
          <a:custGeom>
            <a:avLst/>
            <a:gdLst>
              <a:gd name="connsiteX0" fmla="*/ 0 w 2374494"/>
              <a:gd name="connsiteY0" fmla="*/ 0 h 731520"/>
              <a:gd name="connsiteX1" fmla="*/ 2374494 w 2374494"/>
              <a:gd name="connsiteY1" fmla="*/ 0 h 731520"/>
              <a:gd name="connsiteX2" fmla="*/ 2145054 w 2374494"/>
              <a:gd name="connsiteY2" fmla="*/ 731520 h 731520"/>
              <a:gd name="connsiteX3" fmla="*/ 0 w 2374494"/>
              <a:gd name="connsiteY3" fmla="*/ 731520 h 731520"/>
            </a:gdLst>
            <a:ahLst/>
            <a:cxnLst>
              <a:cxn ang="0">
                <a:pos x="connsiteX0" y="connsiteY0"/>
              </a:cxn>
              <a:cxn ang="0">
                <a:pos x="connsiteX1" y="connsiteY1"/>
              </a:cxn>
              <a:cxn ang="0">
                <a:pos x="connsiteX2" y="connsiteY2"/>
              </a:cxn>
              <a:cxn ang="0">
                <a:pos x="connsiteX3" y="connsiteY3"/>
              </a:cxn>
            </a:cxnLst>
            <a:rect l="l" t="t" r="r" b="b"/>
            <a:pathLst>
              <a:path w="2374494" h="731520">
                <a:moveTo>
                  <a:pt x="0" y="0"/>
                </a:moveTo>
                <a:lnTo>
                  <a:pt x="2374494" y="0"/>
                </a:lnTo>
                <a:lnTo>
                  <a:pt x="2145054" y="731520"/>
                </a:lnTo>
                <a:lnTo>
                  <a:pt x="0" y="731520"/>
                </a:lnTo>
                <a:close/>
              </a:path>
            </a:pathLst>
          </a:custGeom>
          <a:solidFill>
            <a:srgbClr val="DC3C00"/>
          </a:solidFill>
          <a:ln w="10000" cap="flat" cmpd="sng" algn="ctr">
            <a:noFill/>
            <a:prstDash val="solid"/>
          </a:ln>
          <a:effectLst/>
        </p:spPr>
        <p:txBody>
          <a:bodyPr wrap="square" lIns="268927" rtlCol="0" anchor="ctr">
            <a:noAutofit/>
          </a:bodyPr>
          <a:lstStyle/>
          <a:p>
            <a:pPr marL="0" marR="0" lvl="0" indent="0" algn="l" defTabSz="896218" rtl="0" eaLnBrk="1" fontAlgn="auto" latinLnBrk="0" hangingPunct="1">
              <a:lnSpc>
                <a:spcPct val="100000"/>
              </a:lnSpc>
              <a:spcBef>
                <a:spcPts val="0"/>
              </a:spcBef>
              <a:spcAft>
                <a:spcPts val="0"/>
              </a:spcAft>
              <a:buClrTx/>
              <a:buSzTx/>
              <a:buFontTx/>
              <a:buNone/>
              <a:tabLst/>
              <a:defRPr/>
            </a:pPr>
            <a:r>
              <a:rPr kumimoji="0" lang="en-US" sz="1961" b="0" i="0" u="none" strike="noStrike" kern="0" cap="none" spc="294"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HIGHLIGHTS</a:t>
            </a:r>
          </a:p>
        </p:txBody>
      </p:sp>
    </p:spTree>
    <p:extLst>
      <p:ext uri="{BB962C8B-B14F-4D97-AF65-F5344CB8AC3E}">
        <p14:creationId xmlns:p14="http://schemas.microsoft.com/office/powerpoint/2010/main" val="383835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 y="-21771"/>
            <a:ext cx="12176605" cy="6969325"/>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Segoe UI"/>
              <a:ea typeface="+mn-ea"/>
              <a:cs typeface="+mn-cs"/>
            </a:endParaRPr>
          </a:p>
        </p:txBody>
      </p:sp>
      <p:sp>
        <p:nvSpPr>
          <p:cNvPr id="23" name="Title 22"/>
          <p:cNvSpPr>
            <a:spLocks noGrp="1"/>
          </p:cNvSpPr>
          <p:nvPr>
            <p:ph type="title"/>
          </p:nvPr>
        </p:nvSpPr>
        <p:spPr/>
        <p:txBody>
          <a:bodyPr/>
          <a:lstStyle/>
          <a:p>
            <a:pPr defTabSz="914225">
              <a:lnSpc>
                <a:spcPts val="3500"/>
              </a:lnSpc>
              <a:defRPr/>
            </a:pPr>
            <a:r>
              <a:rPr lang="en-US" sz="3137" b="1" kern="900" spc="294" dirty="0">
                <a:solidFill>
                  <a:schemeClr val="accent1"/>
                </a:solidFill>
                <a:latin typeface="+mn-lt"/>
                <a:ea typeface="+mj-ea"/>
                <a:cs typeface="+mj-cs"/>
              </a:rPr>
              <a:t>PATHS TO E5</a:t>
            </a:r>
          </a:p>
        </p:txBody>
      </p:sp>
      <p:sp>
        <p:nvSpPr>
          <p:cNvPr id="22" name="Rectangle 9"/>
          <p:cNvSpPr/>
          <p:nvPr/>
        </p:nvSpPr>
        <p:spPr bwMode="auto">
          <a:xfrm>
            <a:off x="2524980" y="4927782"/>
            <a:ext cx="3501648" cy="927261"/>
          </a:xfrm>
          <a:prstGeom prst="rect">
            <a:avLst/>
          </a:prstGeom>
          <a:solidFill>
            <a:schemeClr val="tx1">
              <a:lumMod val="50000"/>
              <a:lumOff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algn="ctr" defTabSz="896091" fontAlgn="base">
              <a:spcBef>
                <a:spcPct val="0"/>
              </a:spcBef>
              <a:spcAft>
                <a:spcPts val="588"/>
              </a:spcAft>
              <a:buSzPct val="120000"/>
              <a:defRPr/>
            </a:pPr>
            <a:r>
              <a:rPr lang="en-US" sz="3137" b="1" kern="0" spc="98" dirty="0">
                <a:solidFill>
                  <a:prstClr val="white"/>
                </a:solidFill>
              </a:rPr>
              <a:t>E3/ECS</a:t>
            </a:r>
            <a:endParaRPr lang="en-US" sz="1961" b="1" kern="0" spc="98" dirty="0">
              <a:solidFill>
                <a:prstClr val="white"/>
              </a:solidFill>
            </a:endParaRPr>
          </a:p>
        </p:txBody>
      </p:sp>
      <p:sp>
        <p:nvSpPr>
          <p:cNvPr id="24" name="Rectangle 9"/>
          <p:cNvSpPr/>
          <p:nvPr/>
        </p:nvSpPr>
        <p:spPr bwMode="auto">
          <a:xfrm>
            <a:off x="6119772" y="4931016"/>
            <a:ext cx="3501648" cy="927261"/>
          </a:xfrm>
          <a:prstGeom prst="rect">
            <a:avLst/>
          </a:prstGeom>
          <a:solidFill>
            <a:schemeClr val="tx1">
              <a:lumMod val="50000"/>
              <a:lumOff val="5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algn="ctr" defTabSz="896091" fontAlgn="base">
              <a:spcBef>
                <a:spcPct val="0"/>
              </a:spcBef>
              <a:spcAft>
                <a:spcPts val="588"/>
              </a:spcAft>
              <a:buSzPct val="120000"/>
              <a:defRPr/>
            </a:pPr>
            <a:r>
              <a:rPr lang="en-US" sz="3137" b="1" kern="0" spc="98" dirty="0">
                <a:solidFill>
                  <a:prstClr val="white"/>
                </a:solidFill>
              </a:rPr>
              <a:t>E4</a:t>
            </a:r>
          </a:p>
        </p:txBody>
      </p:sp>
      <p:sp>
        <p:nvSpPr>
          <p:cNvPr id="32" name="Isosceles Triangle 31"/>
          <p:cNvSpPr/>
          <p:nvPr/>
        </p:nvSpPr>
        <p:spPr>
          <a:xfrm>
            <a:off x="2524980" y="2667661"/>
            <a:ext cx="7013303" cy="822022"/>
          </a:xfrm>
          <a:prstGeom prst="triangle">
            <a:avLst>
              <a:gd name="adj" fmla="val 50000"/>
            </a:avLst>
          </a:prstGeom>
          <a:solidFill>
            <a:schemeClr val="tx1">
              <a:lumMod val="50000"/>
              <a:lumOff val="50000"/>
            </a:schemeClr>
          </a:solidFill>
          <a:ln w="19050" cap="flat" cmpd="sng" algn="ctr">
            <a:noFill/>
            <a:prstDash val="solid"/>
          </a:ln>
          <a:effectLst/>
        </p:spPr>
        <p:txBody>
          <a:bodyPr rtlCol="0" anchor="ctr"/>
          <a:lstStyle/>
          <a:p>
            <a:pPr algn="ctr"/>
            <a:endParaRPr lang="en-US" sz="1765" kern="0">
              <a:solidFill>
                <a:srgbClr val="E4DED8"/>
              </a:solidFill>
            </a:endParaRPr>
          </a:p>
        </p:txBody>
      </p:sp>
      <p:sp>
        <p:nvSpPr>
          <p:cNvPr id="33" name="Rectangle 6"/>
          <p:cNvSpPr/>
          <p:nvPr/>
        </p:nvSpPr>
        <p:spPr bwMode="auto">
          <a:xfrm>
            <a:off x="4275804" y="1495137"/>
            <a:ext cx="3501649" cy="1057731"/>
          </a:xfrm>
          <a:prstGeom prst="rect">
            <a:avLst/>
          </a:prstGeom>
          <a:solidFill>
            <a:schemeClr val="accent1"/>
          </a:solidFill>
          <a:ln w="190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algn="ctr" defTabSz="896091" fontAlgn="base">
              <a:spcBef>
                <a:spcPct val="0"/>
              </a:spcBef>
              <a:spcAft>
                <a:spcPts val="588"/>
              </a:spcAft>
              <a:buSzPct val="120000"/>
              <a:defRPr/>
            </a:pPr>
            <a:r>
              <a:rPr lang="en-US" sz="3529" b="1" kern="0" spc="98" dirty="0">
                <a:solidFill>
                  <a:srgbClr val="FFFFFF"/>
                </a:solidFill>
              </a:rPr>
              <a:t>E5</a:t>
            </a:r>
            <a:endParaRPr lang="en-US" sz="1765" b="1" kern="0" spc="98" baseline="30000" dirty="0">
              <a:solidFill>
                <a:srgbClr val="FFFFFF"/>
              </a:solidFill>
            </a:endParaRPr>
          </a:p>
        </p:txBody>
      </p:sp>
      <p:sp>
        <p:nvSpPr>
          <p:cNvPr id="34" name="Rectangle 6"/>
          <p:cNvSpPr/>
          <p:nvPr/>
        </p:nvSpPr>
        <p:spPr bwMode="auto">
          <a:xfrm>
            <a:off x="2524980" y="4010616"/>
            <a:ext cx="3501648" cy="927261"/>
          </a:xfrm>
          <a:prstGeom prst="rect">
            <a:avLst/>
          </a:prstGeom>
          <a:solidFill>
            <a:schemeClr val="bg1">
              <a:lumMod val="95000"/>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89642" rIns="44821" bIns="44821" numCol="1" spcCol="0" rtlCol="0" fromWordArt="0" anchor="t" anchorCtr="0" forceAA="0" compatLnSpc="1">
            <a:prstTxWarp prst="textNoShape">
              <a:avLst/>
            </a:prstTxWarp>
            <a:noAutofit/>
          </a:bodyPr>
          <a:lstStyle/>
          <a:p>
            <a:pPr algn="ctr" defTabSz="896091" fontAlgn="base">
              <a:spcBef>
                <a:spcPct val="0"/>
              </a:spcBef>
              <a:spcAft>
                <a:spcPts val="588"/>
              </a:spcAft>
              <a:buSzPct val="120000"/>
              <a:defRPr/>
            </a:pPr>
            <a:r>
              <a:rPr lang="en-US" sz="1961" b="1" kern="0" spc="98" dirty="0">
                <a:solidFill>
                  <a:srgbClr val="DC3C00"/>
                </a:solidFill>
              </a:rPr>
              <a:t>Step Up to E5</a:t>
            </a:r>
            <a:endParaRPr lang="en-US" sz="1372" b="1" kern="0" spc="98" baseline="30000" dirty="0">
              <a:solidFill>
                <a:srgbClr val="DC3C00"/>
              </a:solidFill>
            </a:endParaRPr>
          </a:p>
        </p:txBody>
      </p:sp>
      <p:sp>
        <p:nvSpPr>
          <p:cNvPr id="35" name="Rectangle 6"/>
          <p:cNvSpPr/>
          <p:nvPr/>
        </p:nvSpPr>
        <p:spPr bwMode="auto">
          <a:xfrm>
            <a:off x="6119771" y="4013849"/>
            <a:ext cx="3501648" cy="927261"/>
          </a:xfrm>
          <a:prstGeom prst="rect">
            <a:avLst/>
          </a:prstGeom>
          <a:solidFill>
            <a:schemeClr val="bg1">
              <a:lumMod val="95000"/>
              <a:alpha val="8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89642" rIns="44821" bIns="44821" numCol="1" spcCol="0" rtlCol="0" fromWordArt="0" anchor="t" anchorCtr="0" forceAA="0" compatLnSpc="1">
            <a:prstTxWarp prst="textNoShape">
              <a:avLst/>
            </a:prstTxWarp>
            <a:noAutofit/>
          </a:bodyPr>
          <a:lstStyle/>
          <a:p>
            <a:pPr algn="ctr" defTabSz="896091" fontAlgn="base">
              <a:spcBef>
                <a:spcPct val="0"/>
              </a:spcBef>
              <a:spcAft>
                <a:spcPts val="588"/>
              </a:spcAft>
              <a:buSzPct val="120000"/>
              <a:defRPr/>
            </a:pPr>
            <a:r>
              <a:rPr lang="en-US" sz="1961" b="1" kern="0" spc="98" dirty="0">
                <a:solidFill>
                  <a:srgbClr val="DC3C00"/>
                </a:solidFill>
              </a:rPr>
              <a:t>Step Up to E5</a:t>
            </a:r>
            <a:endParaRPr lang="en-US" sz="1372" b="1" kern="0" spc="98" baseline="30000" dirty="0">
              <a:solidFill>
                <a:srgbClr val="DC3C00"/>
              </a:solidFill>
            </a:endParaRPr>
          </a:p>
        </p:txBody>
      </p:sp>
      <p:sp>
        <p:nvSpPr>
          <p:cNvPr id="37" name="Rectangle 6"/>
          <p:cNvSpPr/>
          <p:nvPr/>
        </p:nvSpPr>
        <p:spPr bwMode="auto">
          <a:xfrm>
            <a:off x="2524980" y="3575708"/>
            <a:ext cx="3501648" cy="44726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algn="ctr" defTabSz="896091" fontAlgn="base">
              <a:spcBef>
                <a:spcPct val="0"/>
              </a:spcBef>
              <a:spcAft>
                <a:spcPts val="588"/>
              </a:spcAft>
              <a:buSzPct val="120000"/>
              <a:defRPr/>
            </a:pPr>
            <a:r>
              <a:rPr lang="en-US" sz="2353" kern="0" dirty="0">
                <a:solidFill>
                  <a:srgbClr val="FFFFFF"/>
                </a:solidFill>
              </a:rPr>
              <a:t>$15</a:t>
            </a:r>
          </a:p>
        </p:txBody>
      </p:sp>
      <p:sp>
        <p:nvSpPr>
          <p:cNvPr id="38" name="Rectangle 6"/>
          <p:cNvSpPr/>
          <p:nvPr/>
        </p:nvSpPr>
        <p:spPr bwMode="auto">
          <a:xfrm>
            <a:off x="6119771" y="3575708"/>
            <a:ext cx="3501648" cy="447261"/>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algn="ctr" defTabSz="896091" fontAlgn="base">
              <a:spcBef>
                <a:spcPct val="0"/>
              </a:spcBef>
              <a:spcAft>
                <a:spcPts val="588"/>
              </a:spcAft>
              <a:buSzPct val="120000"/>
              <a:defRPr/>
            </a:pPr>
            <a:r>
              <a:rPr lang="en-US" sz="2353" kern="0" dirty="0">
                <a:solidFill>
                  <a:srgbClr val="FFFFFF"/>
                </a:solidFill>
              </a:rPr>
              <a:t>$13</a:t>
            </a:r>
          </a:p>
        </p:txBody>
      </p:sp>
      <p:sp>
        <p:nvSpPr>
          <p:cNvPr id="41" name="Freeform 7"/>
          <p:cNvSpPr>
            <a:spLocks noEditPoints="1"/>
          </p:cNvSpPr>
          <p:nvPr/>
        </p:nvSpPr>
        <p:spPr bwMode="black">
          <a:xfrm>
            <a:off x="7753538" y="4566986"/>
            <a:ext cx="327259" cy="278005"/>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EC5038"/>
          </a:solidFill>
          <a:ln>
            <a:noFill/>
          </a:ln>
          <a:extLst/>
        </p:spPr>
        <p:txBody>
          <a:bodyPr vert="horz" wrap="square" lIns="89642" tIns="44821" rIns="89642" bIns="44821" numCol="1" anchor="t" anchorCtr="0" compatLnSpc="1">
            <a:prstTxWarp prst="textNoShape">
              <a:avLst/>
            </a:prstTxWarp>
          </a:bodyPr>
          <a:lstStyle/>
          <a:p>
            <a:endParaRPr lang="en-US" sz="1765" dirty="0">
              <a:solidFill>
                <a:prstClr val="black"/>
              </a:solidFill>
            </a:endParaRPr>
          </a:p>
        </p:txBody>
      </p:sp>
      <p:sp>
        <p:nvSpPr>
          <p:cNvPr id="42" name="Freeform 7"/>
          <p:cNvSpPr>
            <a:spLocks noEditPoints="1"/>
          </p:cNvSpPr>
          <p:nvPr/>
        </p:nvSpPr>
        <p:spPr bwMode="black">
          <a:xfrm>
            <a:off x="4158746" y="4563752"/>
            <a:ext cx="327259" cy="278005"/>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EC5038"/>
          </a:solidFill>
          <a:ln>
            <a:noFill/>
          </a:ln>
          <a:extLst/>
        </p:spPr>
        <p:txBody>
          <a:bodyPr vert="horz" wrap="square" lIns="89642" tIns="44821" rIns="89642" bIns="44821" numCol="1" anchor="t" anchorCtr="0" compatLnSpc="1">
            <a:prstTxWarp prst="textNoShape">
              <a:avLst/>
            </a:prstTxWarp>
          </a:bodyPr>
          <a:lstStyle/>
          <a:p>
            <a:endParaRPr lang="en-US" sz="1765" dirty="0">
              <a:solidFill>
                <a:prstClr val="black"/>
              </a:solidFill>
            </a:endParaRPr>
          </a:p>
        </p:txBody>
      </p:sp>
    </p:spTree>
    <p:extLst>
      <p:ext uri="{BB962C8B-B14F-4D97-AF65-F5344CB8AC3E}">
        <p14:creationId xmlns:p14="http://schemas.microsoft.com/office/powerpoint/2010/main" val="234405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p:cNvSpPr>
            <a:spLocks noGrp="1"/>
          </p:cNvSpPr>
          <p:nvPr>
            <p:ph type="title"/>
          </p:nvPr>
        </p:nvSpPr>
        <p:spPr/>
        <p:txBody>
          <a:bodyPr/>
          <a:lstStyle/>
          <a:p>
            <a:pPr defTabSz="914225">
              <a:lnSpc>
                <a:spcPts val="3500"/>
              </a:lnSpc>
              <a:defRPr/>
            </a:pPr>
            <a:r>
              <a:rPr lang="en-US" sz="3137" b="1" kern="900" spc="294" dirty="0">
                <a:solidFill>
                  <a:schemeClr val="accent1"/>
                </a:solidFill>
                <a:latin typeface="+mn-lt"/>
                <a:ea typeface="+mj-ea"/>
                <a:cs typeface="+mj-cs"/>
              </a:rPr>
              <a:t>PATHS TO CLOUD VOICE FOR E4</a:t>
            </a:r>
          </a:p>
        </p:txBody>
      </p:sp>
      <p:sp>
        <p:nvSpPr>
          <p:cNvPr id="25" name="Rectangle 24"/>
          <p:cNvSpPr/>
          <p:nvPr/>
        </p:nvSpPr>
        <p:spPr bwMode="auto">
          <a:xfrm>
            <a:off x="1296064" y="4611075"/>
            <a:ext cx="9448136" cy="1201896"/>
          </a:xfrm>
          <a:prstGeom prst="rect">
            <a:avLst/>
          </a:prstGeom>
          <a:solidFill>
            <a:schemeClr val="tx1">
              <a:lumMod val="50000"/>
              <a:lumOff val="50000"/>
            </a:schemeClr>
          </a:solidFill>
          <a:ln w="10000" cap="flat" cmpd="sng" algn="ctr">
            <a:noFill/>
            <a:prstDash val="solid"/>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algn="ctr" defTabSz="896091" fontAlgn="base">
              <a:spcBef>
                <a:spcPct val="0"/>
              </a:spcBef>
              <a:spcAft>
                <a:spcPts val="588"/>
              </a:spcAft>
              <a:buSzPct val="120000"/>
              <a:defRPr/>
            </a:pPr>
            <a:r>
              <a:rPr lang="en-US" sz="4000" b="1" kern="0" spc="98" dirty="0">
                <a:solidFill>
                  <a:srgbClr val="FFFFFF"/>
                </a:solidFill>
              </a:rPr>
              <a:t>E4</a:t>
            </a:r>
          </a:p>
          <a:p>
            <a:pPr algn="ctr" defTabSz="896091" fontAlgn="base">
              <a:buSzPct val="120000"/>
              <a:defRPr/>
            </a:pPr>
            <a:r>
              <a:rPr lang="en-US" sz="1600" kern="0" dirty="0">
                <a:solidFill>
                  <a:srgbClr val="FFFFFF"/>
                </a:solidFill>
                <a:latin typeface="Segoe UI Light"/>
              </a:rPr>
              <a:t>$22</a:t>
            </a:r>
          </a:p>
          <a:p>
            <a:pPr algn="ctr" defTabSz="896091" fontAlgn="base">
              <a:buSzPct val="120000"/>
              <a:defRPr/>
            </a:pPr>
            <a:r>
              <a:rPr lang="en-US" sz="1600" kern="0" dirty="0">
                <a:solidFill>
                  <a:srgbClr val="FFFFFF"/>
                </a:solidFill>
                <a:latin typeface="Segoe UI Light"/>
              </a:rPr>
              <a:t>On-</a:t>
            </a:r>
            <a:r>
              <a:rPr lang="en-US" sz="1600" kern="0" dirty="0" err="1">
                <a:solidFill>
                  <a:srgbClr val="FFFFFF"/>
                </a:solidFill>
                <a:latin typeface="Segoe UI Light"/>
              </a:rPr>
              <a:t>Prem</a:t>
            </a:r>
            <a:r>
              <a:rPr lang="en-US" sz="1600" kern="0" dirty="0">
                <a:solidFill>
                  <a:srgbClr val="FFFFFF"/>
                </a:solidFill>
                <a:latin typeface="Segoe UI Light"/>
              </a:rPr>
              <a:t> PBX</a:t>
            </a:r>
          </a:p>
        </p:txBody>
      </p:sp>
      <p:sp>
        <p:nvSpPr>
          <p:cNvPr id="26" name="Rectangle 25"/>
          <p:cNvSpPr/>
          <p:nvPr/>
        </p:nvSpPr>
        <p:spPr bwMode="auto">
          <a:xfrm>
            <a:off x="5086350" y="1561451"/>
            <a:ext cx="5657850" cy="2300902"/>
          </a:xfrm>
          <a:prstGeom prst="rect">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89642" tIns="44821" rIns="44821" bIns="44821" numCol="1" spcCol="0" rtlCol="0" fromWordArt="0" anchor="t" anchorCtr="0" forceAA="0" compatLnSpc="1">
            <a:prstTxWarp prst="textNoShape">
              <a:avLst/>
            </a:prstTxWarp>
            <a:noAutofit/>
          </a:bodyPr>
          <a:lstStyle/>
          <a:p>
            <a:pPr algn="ctr" defTabSz="896091" fontAlgn="base">
              <a:spcBef>
                <a:spcPct val="0"/>
              </a:spcBef>
              <a:spcAft>
                <a:spcPts val="588"/>
              </a:spcAft>
              <a:buSzPct val="120000"/>
              <a:defRPr/>
            </a:pPr>
            <a:r>
              <a:rPr lang="en-US" sz="4800" b="1" kern="0" dirty="0">
                <a:solidFill>
                  <a:srgbClr val="FFFFFF"/>
                </a:solidFill>
              </a:rPr>
              <a:t>E5</a:t>
            </a:r>
            <a:endParaRPr lang="en-US" sz="4800" kern="0" dirty="0">
              <a:solidFill>
                <a:srgbClr val="FFFFFF"/>
              </a:solidFill>
            </a:endParaRPr>
          </a:p>
          <a:p>
            <a:pPr algn="ctr" defTabSz="896091" fontAlgn="base">
              <a:spcBef>
                <a:spcPts val="300"/>
              </a:spcBef>
              <a:spcAft>
                <a:spcPts val="300"/>
              </a:spcAft>
              <a:buSzPct val="120000"/>
              <a:defRPr/>
            </a:pPr>
            <a:r>
              <a:rPr lang="en-US" kern="0" dirty="0">
                <a:solidFill>
                  <a:srgbClr val="FFFFFF"/>
                </a:solidFill>
                <a:latin typeface="Segoe UI Light"/>
              </a:rPr>
              <a:t>Cloud PBX and PSTN Conferencing</a:t>
            </a:r>
          </a:p>
          <a:p>
            <a:pPr algn="ctr" defTabSz="896091" fontAlgn="base">
              <a:spcBef>
                <a:spcPts val="300"/>
              </a:spcBef>
              <a:spcAft>
                <a:spcPts val="300"/>
              </a:spcAft>
              <a:buSzPct val="120000"/>
              <a:defRPr/>
            </a:pPr>
            <a:r>
              <a:rPr lang="en-US" kern="0" dirty="0">
                <a:solidFill>
                  <a:srgbClr val="FFFFFF"/>
                </a:solidFill>
                <a:latin typeface="Segoe UI Light"/>
              </a:rPr>
              <a:t>Advanced Security and Compliance</a:t>
            </a:r>
          </a:p>
          <a:p>
            <a:pPr algn="ctr" defTabSz="896091" fontAlgn="base">
              <a:spcBef>
                <a:spcPts val="300"/>
              </a:spcBef>
              <a:spcAft>
                <a:spcPts val="300"/>
              </a:spcAft>
              <a:buSzPct val="120000"/>
              <a:defRPr/>
            </a:pPr>
            <a:r>
              <a:rPr lang="en-US" kern="0" dirty="0">
                <a:solidFill>
                  <a:srgbClr val="FFFFFF"/>
                </a:solidFill>
                <a:latin typeface="Segoe UI Light"/>
              </a:rPr>
              <a:t>End User and  Organizational Analytics</a:t>
            </a:r>
          </a:p>
          <a:p>
            <a:pPr algn="ctr" defTabSz="896091" fontAlgn="base">
              <a:spcBef>
                <a:spcPts val="300"/>
              </a:spcBef>
              <a:spcAft>
                <a:spcPts val="300"/>
              </a:spcAft>
              <a:buSzPct val="120000"/>
              <a:defRPr/>
            </a:pPr>
            <a:r>
              <a:rPr lang="en-US" kern="0" dirty="0">
                <a:solidFill>
                  <a:srgbClr val="FFFFFF"/>
                </a:solidFill>
              </a:rPr>
              <a:t>+$13</a:t>
            </a:r>
            <a:endParaRPr lang="en-US" sz="1765" kern="0" dirty="0">
              <a:solidFill>
                <a:srgbClr val="FFFFFF"/>
              </a:solidFill>
            </a:endParaRPr>
          </a:p>
          <a:p>
            <a:pPr algn="ctr" defTabSz="896091" fontAlgn="base">
              <a:spcBef>
                <a:spcPct val="0"/>
              </a:spcBef>
              <a:spcAft>
                <a:spcPts val="588"/>
              </a:spcAft>
              <a:buSzPct val="120000"/>
              <a:defRPr/>
            </a:pPr>
            <a:endParaRPr lang="en-US" sz="1765" kern="0" dirty="0">
              <a:solidFill>
                <a:srgbClr val="FFFFFF"/>
              </a:solidFill>
            </a:endParaRPr>
          </a:p>
        </p:txBody>
      </p:sp>
      <p:sp>
        <p:nvSpPr>
          <p:cNvPr id="27" name="Isosceles Triangle 26"/>
          <p:cNvSpPr/>
          <p:nvPr/>
        </p:nvSpPr>
        <p:spPr>
          <a:xfrm>
            <a:off x="1296064" y="4011462"/>
            <a:ext cx="2372966" cy="448212"/>
          </a:xfrm>
          <a:prstGeom prst="triangle">
            <a:avLst/>
          </a:prstGeom>
          <a:solidFill>
            <a:schemeClr val="bg1">
              <a:lumMod val="85000"/>
            </a:schemeClr>
          </a:solidFill>
          <a:ln w="19050" cap="flat" cmpd="sng" algn="ctr">
            <a:noFill/>
            <a:prstDash val="solid"/>
          </a:ln>
          <a:effectLst/>
        </p:spPr>
        <p:txBody>
          <a:bodyPr rtlCol="0" anchor="ctr"/>
          <a:lstStyle/>
          <a:p>
            <a:pPr algn="ctr"/>
            <a:endParaRPr lang="en-US" sz="1765" kern="0">
              <a:solidFill>
                <a:srgbClr val="E4DED8"/>
              </a:solidFill>
            </a:endParaRPr>
          </a:p>
        </p:txBody>
      </p:sp>
      <p:sp>
        <p:nvSpPr>
          <p:cNvPr id="30" name="Rectangle 29"/>
          <p:cNvSpPr/>
          <p:nvPr/>
        </p:nvSpPr>
        <p:spPr bwMode="auto">
          <a:xfrm>
            <a:off x="1296064" y="2325033"/>
            <a:ext cx="2372966" cy="1542034"/>
          </a:xfrm>
          <a:prstGeom prst="rect">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89642" tIns="44821" rIns="44821" bIns="44821" numCol="1" spcCol="0" rtlCol="0" fromWordArt="0" anchor="ctr" anchorCtr="0" forceAA="0" compatLnSpc="1">
            <a:prstTxWarp prst="textNoShape">
              <a:avLst/>
            </a:prstTxWarp>
            <a:noAutofit/>
          </a:bodyPr>
          <a:lstStyle/>
          <a:p>
            <a:pPr algn="ctr" defTabSz="896091" fontAlgn="base">
              <a:spcBef>
                <a:spcPct val="0"/>
              </a:spcBef>
              <a:spcAft>
                <a:spcPts val="588"/>
              </a:spcAft>
              <a:buSzPct val="120000"/>
              <a:defRPr/>
            </a:pPr>
            <a:r>
              <a:rPr lang="en-US" sz="4000" b="1" kern="0" dirty="0">
                <a:solidFill>
                  <a:srgbClr val="FFFFFF"/>
                </a:solidFill>
              </a:rPr>
              <a:t>E3</a:t>
            </a:r>
            <a:endParaRPr lang="en-US" sz="4000" kern="0" dirty="0">
              <a:solidFill>
                <a:srgbClr val="FFFFFF"/>
              </a:solidFill>
            </a:endParaRPr>
          </a:p>
          <a:p>
            <a:pPr algn="ctr" defTabSz="896091" fontAlgn="base">
              <a:spcBef>
                <a:spcPts val="588"/>
              </a:spcBef>
              <a:spcAft>
                <a:spcPts val="588"/>
              </a:spcAft>
              <a:buSzPct val="120000"/>
              <a:defRPr/>
            </a:pPr>
            <a:r>
              <a:rPr lang="en-US" kern="0" dirty="0">
                <a:solidFill>
                  <a:srgbClr val="FFFFFF"/>
                </a:solidFill>
                <a:latin typeface="Segoe UI Light"/>
              </a:rPr>
              <a:t>Cloud PBX</a:t>
            </a:r>
            <a:br>
              <a:rPr lang="en-US" kern="0" dirty="0">
                <a:solidFill>
                  <a:srgbClr val="FFFFFF"/>
                </a:solidFill>
                <a:latin typeface="Segoe UI Light"/>
              </a:rPr>
            </a:br>
            <a:r>
              <a:rPr lang="en-US" kern="0" dirty="0">
                <a:solidFill>
                  <a:srgbClr val="FFFFFF"/>
                </a:solidFill>
                <a:latin typeface="Segoe UI Light"/>
              </a:rPr>
              <a:t>+$6</a:t>
            </a:r>
          </a:p>
        </p:txBody>
      </p:sp>
      <p:sp>
        <p:nvSpPr>
          <p:cNvPr id="31" name="TextBox 1"/>
          <p:cNvSpPr txBox="1"/>
          <p:nvPr/>
        </p:nvSpPr>
        <p:spPr>
          <a:xfrm>
            <a:off x="6121055" y="992452"/>
            <a:ext cx="3588440" cy="400110"/>
          </a:xfrm>
          <a:prstGeom prst="rect">
            <a:avLst/>
          </a:prstGeom>
        </p:spPr>
        <p:txBody>
          <a:bodyPr wrap="square" rtlCol="0" anchor="ctr">
            <a:spAutoFit/>
          </a:bodyPr>
          <a:lstStyle/>
          <a:p>
            <a:pPr algn="ctr"/>
            <a:r>
              <a:rPr lang="en-US" sz="2000" b="1" dirty="0">
                <a:solidFill>
                  <a:srgbClr val="DC3C00"/>
                </a:solidFill>
                <a:cs typeface="Bodoni Std Bold Italic"/>
              </a:rPr>
              <a:t>Full IT &amp; End User Value</a:t>
            </a:r>
          </a:p>
        </p:txBody>
      </p:sp>
      <p:sp>
        <p:nvSpPr>
          <p:cNvPr id="43" name="TextBox 3"/>
          <p:cNvSpPr txBox="1"/>
          <p:nvPr/>
        </p:nvSpPr>
        <p:spPr>
          <a:xfrm>
            <a:off x="1406927" y="1910245"/>
            <a:ext cx="2151239" cy="369332"/>
          </a:xfrm>
          <a:prstGeom prst="rect">
            <a:avLst/>
          </a:prstGeom>
        </p:spPr>
        <p:txBody>
          <a:bodyPr wrap="square" rtlCol="0" anchor="ctr">
            <a:spAutoFit/>
          </a:bodyPr>
          <a:lstStyle/>
          <a:p>
            <a:r>
              <a:rPr lang="en-US" b="1" dirty="0">
                <a:solidFill>
                  <a:srgbClr val="DC3C00"/>
                </a:solidFill>
                <a:cs typeface="Bodoni Std Bold Italic"/>
              </a:rPr>
              <a:t>Voice in the Cloud</a:t>
            </a:r>
          </a:p>
        </p:txBody>
      </p:sp>
      <p:sp>
        <p:nvSpPr>
          <p:cNvPr id="12" name="Rectangle 11"/>
          <p:cNvSpPr/>
          <p:nvPr/>
        </p:nvSpPr>
        <p:spPr>
          <a:xfrm>
            <a:off x="1296064" y="5914154"/>
            <a:ext cx="9995695" cy="827919"/>
          </a:xfrm>
          <a:prstGeom prst="rect">
            <a:avLst/>
          </a:prstGeom>
        </p:spPr>
        <p:txBody>
          <a:bodyPr wrap="square">
            <a:spAutoFit/>
          </a:bodyPr>
          <a:lstStyle/>
          <a:p>
            <a:pPr marL="171450" indent="-171450" defTabSz="896218">
              <a:lnSpc>
                <a:spcPct val="90000"/>
              </a:lnSpc>
              <a:spcAft>
                <a:spcPts val="588"/>
              </a:spcAft>
              <a:buFont typeface="Arial" panose="020B0604020202020204" pitchFamily="34" charset="0"/>
              <a:buChar char="•"/>
              <a:defRPr/>
            </a:pPr>
            <a:r>
              <a:rPr lang="en-US" sz="1400" kern="0" dirty="0">
                <a:gradFill>
                  <a:gsLst>
                    <a:gs pos="2917">
                      <a:srgbClr val="505050"/>
                    </a:gs>
                    <a:gs pos="30000">
                      <a:srgbClr val="505050"/>
                    </a:gs>
                  </a:gsLst>
                  <a:lin ang="5400000" scaled="0"/>
                </a:gradFill>
              </a:rPr>
              <a:t>Prices reflect the incremental cost of customers transitioning from E4 to either E3 with Cloud PBX or E5</a:t>
            </a:r>
          </a:p>
          <a:p>
            <a:pPr marL="171450" indent="-171450" defTabSz="896218">
              <a:lnSpc>
                <a:spcPct val="90000"/>
              </a:lnSpc>
              <a:spcAft>
                <a:spcPts val="588"/>
              </a:spcAft>
              <a:buFont typeface="Arial" panose="020B0604020202020204" pitchFamily="34" charset="0"/>
              <a:buChar char="•"/>
              <a:defRPr/>
            </a:pPr>
            <a:r>
              <a:rPr lang="en-US" sz="1400" kern="0" dirty="0">
                <a:gradFill>
                  <a:gsLst>
                    <a:gs pos="2917">
                      <a:srgbClr val="505050"/>
                    </a:gs>
                    <a:gs pos="30000">
                      <a:srgbClr val="505050"/>
                    </a:gs>
                  </a:gsLst>
                  <a:lin ang="5400000" scaled="0"/>
                </a:gradFill>
              </a:rPr>
              <a:t>E4 customers can also maintain current licensing position by having E3 + On-</a:t>
            </a:r>
            <a:r>
              <a:rPr lang="en-US" sz="1400" kern="0" dirty="0" err="1">
                <a:gradFill>
                  <a:gsLst>
                    <a:gs pos="2917">
                      <a:srgbClr val="505050"/>
                    </a:gs>
                    <a:gs pos="30000">
                      <a:srgbClr val="505050"/>
                    </a:gs>
                  </a:gsLst>
                  <a:lin ang="5400000" scaled="0"/>
                </a:gradFill>
              </a:rPr>
              <a:t>Prem</a:t>
            </a:r>
            <a:r>
              <a:rPr lang="en-US" sz="1400" kern="0" dirty="0">
                <a:gradFill>
                  <a:gsLst>
                    <a:gs pos="2917">
                      <a:srgbClr val="505050"/>
                    </a:gs>
                    <a:gs pos="30000">
                      <a:srgbClr val="505050"/>
                    </a:gs>
                  </a:gsLst>
                  <a:lin ang="5400000" scaled="0"/>
                </a:gradFill>
              </a:rPr>
              <a:t> PBX</a:t>
            </a:r>
          </a:p>
          <a:p>
            <a:pPr marL="171450" indent="-171450" defTabSz="896218">
              <a:lnSpc>
                <a:spcPct val="90000"/>
              </a:lnSpc>
              <a:spcAft>
                <a:spcPts val="588"/>
              </a:spcAft>
              <a:buFont typeface="Arial" panose="020B0604020202020204" pitchFamily="34" charset="0"/>
              <a:buChar char="•"/>
              <a:defRPr/>
            </a:pPr>
            <a:r>
              <a:rPr lang="en-US" sz="1400" kern="0" dirty="0">
                <a:gradFill>
                  <a:gsLst>
                    <a:gs pos="2917">
                      <a:srgbClr val="505050"/>
                    </a:gs>
                    <a:gs pos="30000">
                      <a:srgbClr val="505050"/>
                    </a:gs>
                  </a:gsLst>
                  <a:lin ang="5400000" scaled="0"/>
                </a:gradFill>
              </a:rPr>
              <a:t>E4 will remain on the Price List until June 30</a:t>
            </a:r>
            <a:r>
              <a:rPr lang="en-US" sz="1400" kern="0" baseline="30000" dirty="0">
                <a:gradFill>
                  <a:gsLst>
                    <a:gs pos="2917">
                      <a:srgbClr val="505050"/>
                    </a:gs>
                    <a:gs pos="30000">
                      <a:srgbClr val="505050"/>
                    </a:gs>
                  </a:gsLst>
                  <a:lin ang="5400000" scaled="0"/>
                </a:gradFill>
              </a:rPr>
              <a:t>th</a:t>
            </a:r>
            <a:r>
              <a:rPr lang="en-US" sz="1400" kern="0" dirty="0">
                <a:gradFill>
                  <a:gsLst>
                    <a:gs pos="2917">
                      <a:srgbClr val="505050"/>
                    </a:gs>
                    <a:gs pos="30000">
                      <a:srgbClr val="505050"/>
                    </a:gs>
                  </a:gsLst>
                  <a:lin ang="5400000" scaled="0"/>
                </a:gradFill>
              </a:rPr>
              <a:t>, 2016 after which point it will be available as Lead Status only</a:t>
            </a:r>
          </a:p>
        </p:txBody>
      </p:sp>
      <p:sp>
        <p:nvSpPr>
          <p:cNvPr id="10" name="Isosceles Triangle 9"/>
          <p:cNvSpPr/>
          <p:nvPr/>
        </p:nvSpPr>
        <p:spPr>
          <a:xfrm>
            <a:off x="5086350" y="4010001"/>
            <a:ext cx="5657850" cy="448212"/>
          </a:xfrm>
          <a:prstGeom prst="triangle">
            <a:avLst/>
          </a:prstGeom>
          <a:solidFill>
            <a:schemeClr val="bg1">
              <a:lumMod val="85000"/>
            </a:schemeClr>
          </a:solidFill>
          <a:ln w="19050" cap="flat" cmpd="sng" algn="ctr">
            <a:noFill/>
            <a:prstDash val="solid"/>
          </a:ln>
          <a:effectLst/>
        </p:spPr>
        <p:txBody>
          <a:bodyPr rtlCol="0" anchor="ctr"/>
          <a:lstStyle/>
          <a:p>
            <a:pPr algn="ctr"/>
            <a:endParaRPr lang="en-US" sz="1765" kern="0">
              <a:solidFill>
                <a:srgbClr val="E4DED8"/>
              </a:solidFill>
            </a:endParaRPr>
          </a:p>
        </p:txBody>
      </p:sp>
    </p:spTree>
    <p:extLst>
      <p:ext uri="{BB962C8B-B14F-4D97-AF65-F5344CB8AC3E}">
        <p14:creationId xmlns:p14="http://schemas.microsoft.com/office/powerpoint/2010/main" val="280601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5"/>
          <p:cNvGraphicFramePr>
            <a:graphicFrameLocks noGrp="1"/>
          </p:cNvGraphicFramePr>
          <p:nvPr>
            <p:extLst/>
          </p:nvPr>
        </p:nvGraphicFramePr>
        <p:xfrm>
          <a:off x="547445" y="1360449"/>
          <a:ext cx="10345918" cy="3581400"/>
        </p:xfrm>
        <a:graphic>
          <a:graphicData uri="http://schemas.openxmlformats.org/drawingml/2006/table">
            <a:tbl>
              <a:tblPr firstRow="1" bandRow="1">
                <a:tableStyleId>{5940675A-B579-460E-94D1-54222C63F5DA}</a:tableStyleId>
              </a:tblPr>
              <a:tblGrid>
                <a:gridCol w="1920240">
                  <a:extLst>
                    <a:ext uri="{9D8B030D-6E8A-4147-A177-3AD203B41FA5}">
                      <a16:colId xmlns:a16="http://schemas.microsoft.com/office/drawing/2014/main" val="20001"/>
                    </a:ext>
                  </a:extLst>
                </a:gridCol>
                <a:gridCol w="2011680">
                  <a:extLst>
                    <a:ext uri="{9D8B030D-6E8A-4147-A177-3AD203B41FA5}">
                      <a16:colId xmlns:a16="http://schemas.microsoft.com/office/drawing/2014/main" val="20004"/>
                    </a:ext>
                  </a:extLst>
                </a:gridCol>
                <a:gridCol w="457200">
                  <a:extLst>
                    <a:ext uri="{9D8B030D-6E8A-4147-A177-3AD203B41FA5}">
                      <a16:colId xmlns:a16="http://schemas.microsoft.com/office/drawing/2014/main" val="20006"/>
                    </a:ext>
                  </a:extLst>
                </a:gridCol>
                <a:gridCol w="2103120">
                  <a:extLst>
                    <a:ext uri="{9D8B030D-6E8A-4147-A177-3AD203B41FA5}">
                      <a16:colId xmlns:a16="http://schemas.microsoft.com/office/drawing/2014/main" val="20002"/>
                    </a:ext>
                  </a:extLst>
                </a:gridCol>
                <a:gridCol w="1973699">
                  <a:extLst>
                    <a:ext uri="{9D8B030D-6E8A-4147-A177-3AD203B41FA5}">
                      <a16:colId xmlns:a16="http://schemas.microsoft.com/office/drawing/2014/main" val="20003"/>
                    </a:ext>
                  </a:extLst>
                </a:gridCol>
                <a:gridCol w="1879979">
                  <a:extLst>
                    <a:ext uri="{9D8B030D-6E8A-4147-A177-3AD203B41FA5}">
                      <a16:colId xmlns:a16="http://schemas.microsoft.com/office/drawing/2014/main" val="20005"/>
                    </a:ext>
                  </a:extLst>
                </a:gridCol>
              </a:tblGrid>
              <a:tr h="334239">
                <a:tc gridSpan="2">
                  <a:txBody>
                    <a:bodyPr/>
                    <a:lstStyle/>
                    <a:p>
                      <a:pPr algn="ctr"/>
                      <a:r>
                        <a:rPr lang="en-US" sz="1800" dirty="0">
                          <a:solidFill>
                            <a:schemeClr val="bg1"/>
                          </a:solidFill>
                        </a:rPr>
                        <a:t>Current Licensing Position</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hMerge="1">
                  <a:txBody>
                    <a:bodyPr/>
                    <a:lstStyle/>
                    <a:p>
                      <a:pPr algn="ctr"/>
                      <a:endParaRPr lang="en-US" sz="1800" dirty="0">
                        <a:solidFill>
                          <a:schemeClr val="bg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endParaRPr lang="en-US" sz="400" dirty="0">
                        <a:solidFill>
                          <a:schemeClr val="bg1"/>
                        </a:solidFill>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1">
                        <a:lumMod val="95000"/>
                      </a:schemeClr>
                    </a:solidFill>
                  </a:tcPr>
                </a:tc>
                <a:tc gridSpan="3">
                  <a:txBody>
                    <a:bodyPr/>
                    <a:lstStyle/>
                    <a:p>
                      <a:pPr algn="ctr"/>
                      <a:r>
                        <a:rPr lang="en-US" sz="1800" dirty="0">
                          <a:solidFill>
                            <a:schemeClr val="bg1"/>
                          </a:solidFill>
                        </a:rPr>
                        <a:t>End</a:t>
                      </a:r>
                      <a:r>
                        <a:rPr lang="en-US" sz="1800" baseline="0" dirty="0">
                          <a:solidFill>
                            <a:schemeClr val="bg1"/>
                          </a:solidFill>
                        </a:rPr>
                        <a:t> State Licensing Position</a:t>
                      </a:r>
                      <a:endParaRPr lang="en-US" sz="1800" dirty="0">
                        <a:solidFill>
                          <a:schemeClr val="bg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hMerge="1">
                  <a:txBody>
                    <a:bodyPr/>
                    <a:lstStyle/>
                    <a:p>
                      <a:pPr algn="ctr"/>
                      <a:endParaRPr lang="en-US" sz="18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tc hMerge="1">
                  <a:txBody>
                    <a:bodyPr/>
                    <a:lstStyle/>
                    <a:p>
                      <a:pPr algn="ctr"/>
                      <a:endParaRPr lang="en-US" sz="18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extLst>
                  <a:ext uri="{0D108BD9-81ED-4DB2-BD59-A6C34878D82A}">
                    <a16:rowId xmlns:a16="http://schemas.microsoft.com/office/drawing/2014/main" val="10007"/>
                  </a:ext>
                </a:extLst>
              </a:tr>
              <a:tr h="334239">
                <a:tc>
                  <a:txBody>
                    <a:bodyPr/>
                    <a:lstStyle/>
                    <a:p>
                      <a:pPr algn="ctr"/>
                      <a:r>
                        <a:rPr lang="en-US" sz="1800" dirty="0">
                          <a:solidFill>
                            <a:schemeClr val="bg1"/>
                          </a:solidFill>
                        </a:rPr>
                        <a:t>What</a:t>
                      </a:r>
                      <a:r>
                        <a:rPr lang="en-US" sz="1800" baseline="0" dirty="0">
                          <a:solidFill>
                            <a:schemeClr val="bg1"/>
                          </a:solidFill>
                        </a:rPr>
                        <a:t> they have</a:t>
                      </a:r>
                      <a:endParaRPr lang="en-US" sz="18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a:r>
                        <a:rPr lang="en-US" sz="1800" dirty="0">
                          <a:solidFill>
                            <a:schemeClr val="bg1"/>
                          </a:solidFill>
                        </a:rPr>
                        <a:t>Current Pri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tc>
                  <a:txBody>
                    <a:bodyPr/>
                    <a:lstStyle/>
                    <a:p>
                      <a:pPr algn="ctr"/>
                      <a:endParaRPr lang="en-US" sz="2000" dirty="0">
                        <a:solidFill>
                          <a:schemeClr val="tx1"/>
                        </a:solidFill>
                      </a:endParaRP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en-US" sz="1800" dirty="0">
                          <a:solidFill>
                            <a:schemeClr val="bg1"/>
                          </a:solidFill>
                        </a:rPr>
                        <a:t>What they wa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tc>
                  <a:txBody>
                    <a:bodyPr/>
                    <a:lstStyle/>
                    <a:p>
                      <a:pPr algn="ctr"/>
                      <a:r>
                        <a:rPr lang="en-US" sz="1800" dirty="0">
                          <a:solidFill>
                            <a:schemeClr val="bg1"/>
                          </a:solidFill>
                        </a:rPr>
                        <a:t>New SKU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tc>
                  <a:txBody>
                    <a:bodyPr/>
                    <a:lstStyle/>
                    <a:p>
                      <a:pPr algn="ctr"/>
                      <a:r>
                        <a:rPr lang="en-US" sz="1800" dirty="0">
                          <a:solidFill>
                            <a:schemeClr val="bg1"/>
                          </a:solidFill>
                        </a:rPr>
                        <a:t>New Pric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C3D3F"/>
                    </a:solidFill>
                  </a:tcPr>
                </a:tc>
                <a:extLst>
                  <a:ext uri="{0D108BD9-81ED-4DB2-BD59-A6C34878D82A}">
                    <a16:rowId xmlns:a16="http://schemas.microsoft.com/office/drawing/2014/main" val="10000"/>
                  </a:ext>
                </a:extLst>
              </a:tr>
              <a:tr h="370840">
                <a:tc>
                  <a:txBody>
                    <a:bodyPr/>
                    <a:lstStyle/>
                    <a:p>
                      <a:pPr algn="l"/>
                      <a:r>
                        <a:rPr lang="en-US" sz="1600" dirty="0">
                          <a:solidFill>
                            <a:schemeClr val="tx1"/>
                          </a:solidFill>
                        </a:rPr>
                        <a:t>E4</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22 E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a:r>
                        <a:rPr lang="en-US" sz="1600" dirty="0">
                          <a:solidFill>
                            <a:schemeClr val="bg1"/>
                          </a:solidFill>
                        </a:rPr>
                        <a:t>E5</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a:txBody>
                    <a:bodyPr/>
                    <a:lstStyle/>
                    <a:p>
                      <a:pPr algn="ctr"/>
                      <a:r>
                        <a:rPr lang="en-US" sz="1600" dirty="0"/>
                        <a:t>E5</a:t>
                      </a:r>
                      <a:r>
                        <a:rPr lang="en-US" sz="1600" baseline="0" dirty="0"/>
                        <a:t> Step up SKU</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600" baseline="0" dirty="0"/>
                        <a:t>+$13 E5 Step up</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1"/>
                  </a:ext>
                </a:extLst>
              </a:tr>
              <a:tr h="370840">
                <a:tc>
                  <a:txBody>
                    <a:bodyPr/>
                    <a:lstStyle/>
                    <a:p>
                      <a:pPr algn="l"/>
                      <a:r>
                        <a:rPr lang="en-US" sz="1600" dirty="0">
                          <a:solidFill>
                            <a:schemeClr val="tx1"/>
                          </a:solidFill>
                        </a:rPr>
                        <a:t>E3</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20 E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a:r>
                        <a:rPr lang="en-US" sz="1600" dirty="0">
                          <a:solidFill>
                            <a:schemeClr val="bg1"/>
                          </a:solidFill>
                        </a:rPr>
                        <a:t>E5</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a:txBody>
                    <a:bodyPr/>
                    <a:lstStyle/>
                    <a:p>
                      <a:pPr algn="ctr"/>
                      <a:r>
                        <a:rPr lang="en-US" sz="1600" dirty="0"/>
                        <a:t>E5</a:t>
                      </a:r>
                      <a:r>
                        <a:rPr lang="en-US" sz="1600" baseline="0" dirty="0"/>
                        <a:t> Step up SKU</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600" baseline="0" dirty="0"/>
                        <a:t>+$15 E5 Step up</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2"/>
                  </a:ext>
                </a:extLst>
              </a:tr>
              <a:tr h="370840">
                <a:tc>
                  <a:txBody>
                    <a:bodyPr/>
                    <a:lstStyle/>
                    <a:p>
                      <a:pPr algn="l"/>
                      <a:r>
                        <a:rPr lang="en-US" sz="1600" dirty="0">
                          <a:solidFill>
                            <a:schemeClr val="tx1"/>
                          </a:solidFill>
                        </a:rPr>
                        <a:t>E3</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indent="0" algn="ctr" defTabSz="1087869" rtl="0" eaLnBrk="1" fontAlgn="auto" latinLnBrk="0" hangingPunct="1">
                        <a:lnSpc>
                          <a:spcPct val="100000"/>
                        </a:lnSpc>
                        <a:spcBef>
                          <a:spcPts val="0"/>
                        </a:spcBef>
                        <a:spcAft>
                          <a:spcPts val="0"/>
                        </a:spcAft>
                        <a:buClrTx/>
                        <a:buSzTx/>
                        <a:buFontTx/>
                        <a:buNone/>
                        <a:tabLst/>
                        <a:defRPr/>
                      </a:pPr>
                      <a:r>
                        <a:rPr lang="en-US" sz="1600" dirty="0">
                          <a:solidFill>
                            <a:schemeClr val="tx1"/>
                          </a:solidFill>
                        </a:rPr>
                        <a:t>$20</a:t>
                      </a:r>
                      <a:r>
                        <a:rPr lang="en-US" sz="1600" baseline="0" dirty="0">
                          <a:solidFill>
                            <a:schemeClr val="tx1"/>
                          </a:solidFill>
                        </a:rPr>
                        <a:t> E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a:r>
                        <a:rPr lang="en-US" sz="1600" dirty="0">
                          <a:solidFill>
                            <a:schemeClr val="bg1"/>
                          </a:solidFill>
                        </a:rPr>
                        <a:t>E3 with </a:t>
                      </a:r>
                      <a:br>
                        <a:rPr lang="en-US" sz="1600" dirty="0">
                          <a:solidFill>
                            <a:schemeClr val="bg1"/>
                          </a:solidFill>
                        </a:rPr>
                      </a:br>
                      <a:r>
                        <a:rPr lang="en-US" sz="1600" dirty="0">
                          <a:solidFill>
                            <a:schemeClr val="bg1"/>
                          </a:solidFill>
                        </a:rPr>
                        <a:t>Cloud PBX</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a:txBody>
                    <a:bodyPr/>
                    <a:lstStyle/>
                    <a:p>
                      <a:pPr algn="ctr"/>
                      <a:r>
                        <a:rPr lang="en-US" sz="1600" dirty="0"/>
                        <a:t>Cloud PBX </a:t>
                      </a:r>
                      <a:br>
                        <a:rPr lang="en-US" sz="1600" dirty="0"/>
                      </a:br>
                      <a:r>
                        <a:rPr lang="en-US" sz="1600" dirty="0"/>
                        <a:t>Add 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marL="0" marR="0" indent="0" algn="ctr" defTabSz="1087869" rtl="0" eaLnBrk="1" fontAlgn="auto" latinLnBrk="0" hangingPunct="1">
                        <a:lnSpc>
                          <a:spcPct val="100000"/>
                        </a:lnSpc>
                        <a:spcBef>
                          <a:spcPts val="0"/>
                        </a:spcBef>
                        <a:spcAft>
                          <a:spcPts val="0"/>
                        </a:spcAft>
                        <a:buClrTx/>
                        <a:buSzTx/>
                        <a:buFontTx/>
                        <a:buNone/>
                        <a:tabLst/>
                        <a:defRPr/>
                      </a:pPr>
                      <a:r>
                        <a:rPr lang="en-US" sz="1600" dirty="0"/>
                        <a:t>+$8 Cloud</a:t>
                      </a:r>
                      <a:r>
                        <a:rPr lang="en-US" sz="1600" baseline="0" dirty="0"/>
                        <a:t> PBX</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3"/>
                  </a:ext>
                </a:extLst>
              </a:tr>
              <a:tr h="370840">
                <a:tc>
                  <a:txBody>
                    <a:bodyPr/>
                    <a:lstStyle/>
                    <a:p>
                      <a:pPr algn="l"/>
                      <a:r>
                        <a:rPr lang="en-US" sz="1600" dirty="0">
                          <a:solidFill>
                            <a:schemeClr val="tx1"/>
                          </a:solidFill>
                        </a:rPr>
                        <a:t>E3 Plus</a:t>
                      </a:r>
                      <a:r>
                        <a:rPr lang="en-US" sz="1600" baseline="0" dirty="0">
                          <a:solidFill>
                            <a:schemeClr val="tx1"/>
                          </a:solidFill>
                        </a:rPr>
                        <a:t> CAL</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20 E3</a:t>
                      </a:r>
                    </a:p>
                    <a:p>
                      <a:pPr algn="ctr"/>
                      <a:r>
                        <a:rPr lang="en-US" sz="1600" dirty="0">
                          <a:solidFill>
                            <a:schemeClr val="tx1"/>
                          </a:solidFill>
                        </a:rPr>
                        <a:t>$2 Plus C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a:r>
                        <a:rPr lang="en-US" sz="1600" dirty="0">
                          <a:solidFill>
                            <a:schemeClr val="bg1"/>
                          </a:solidFill>
                        </a:rPr>
                        <a:t>E5</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a:txBody>
                    <a:bodyPr/>
                    <a:lstStyle/>
                    <a:p>
                      <a:pPr marL="0" marR="0" indent="0" algn="ctr" defTabSz="1087869" rtl="0" eaLnBrk="1" fontAlgn="auto" latinLnBrk="0" hangingPunct="1">
                        <a:lnSpc>
                          <a:spcPct val="100000"/>
                        </a:lnSpc>
                        <a:spcBef>
                          <a:spcPts val="0"/>
                        </a:spcBef>
                        <a:spcAft>
                          <a:spcPts val="0"/>
                        </a:spcAft>
                        <a:buClrTx/>
                        <a:buSzTx/>
                        <a:buFontTx/>
                        <a:buNone/>
                        <a:tabLst/>
                        <a:defRPr/>
                      </a:pPr>
                      <a:r>
                        <a:rPr lang="en-US" sz="1600" dirty="0"/>
                        <a:t>E5</a:t>
                      </a:r>
                      <a:r>
                        <a:rPr lang="en-US" sz="1600" baseline="0" dirty="0"/>
                        <a:t> Step up SKU</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600" baseline="0" dirty="0"/>
                        <a:t>+$13 E5 Step up</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4"/>
                  </a:ext>
                </a:extLst>
              </a:tr>
              <a:tr h="370840">
                <a:tc>
                  <a:txBody>
                    <a:bodyPr/>
                    <a:lstStyle/>
                    <a:p>
                      <a:pPr algn="l"/>
                      <a:r>
                        <a:rPr lang="en-US" sz="1600" dirty="0">
                          <a:solidFill>
                            <a:schemeClr val="tx1"/>
                          </a:solidFill>
                        </a:rPr>
                        <a:t>ECS</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algn="ctr"/>
                      <a:r>
                        <a:rPr lang="en-US" sz="1600" dirty="0">
                          <a:solidFill>
                            <a:schemeClr val="tx1"/>
                          </a:solidFill>
                        </a:rPr>
                        <a:t>$20 E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a:r>
                        <a:rPr lang="en-US" sz="1600" dirty="0">
                          <a:solidFill>
                            <a:schemeClr val="bg1"/>
                          </a:solidFill>
                        </a:rPr>
                        <a:t>ECS</a:t>
                      </a:r>
                      <a:r>
                        <a:rPr lang="en-US" sz="1600" baseline="0" dirty="0">
                          <a:solidFill>
                            <a:schemeClr val="bg1"/>
                          </a:solidFill>
                        </a:rPr>
                        <a:t> with E5</a:t>
                      </a:r>
                      <a:endParaRPr lang="en-US" sz="1600" dirty="0">
                        <a:solidFill>
                          <a:schemeClr val="bg1"/>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a:txBody>
                    <a:bodyPr/>
                    <a:lstStyle/>
                    <a:p>
                      <a:pPr marL="0" marR="0" indent="0" algn="ctr" defTabSz="1087869" rtl="0" eaLnBrk="1" fontAlgn="auto" latinLnBrk="0" hangingPunct="1">
                        <a:lnSpc>
                          <a:spcPct val="100000"/>
                        </a:lnSpc>
                        <a:spcBef>
                          <a:spcPts val="0"/>
                        </a:spcBef>
                        <a:spcAft>
                          <a:spcPts val="0"/>
                        </a:spcAft>
                        <a:buClrTx/>
                        <a:buSzTx/>
                        <a:buFontTx/>
                        <a:buNone/>
                        <a:tabLst/>
                        <a:defRPr/>
                      </a:pPr>
                      <a:r>
                        <a:rPr lang="en-US" sz="1600" dirty="0"/>
                        <a:t>E5</a:t>
                      </a:r>
                      <a:r>
                        <a:rPr lang="en-US" sz="1600" baseline="0" dirty="0"/>
                        <a:t> Step up SKU</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600" baseline="0" dirty="0"/>
                        <a:t>+$15 E5 Step up</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5"/>
                  </a:ext>
                </a:extLst>
              </a:tr>
              <a:tr h="370840">
                <a:tc>
                  <a:txBody>
                    <a:bodyPr/>
                    <a:lstStyle/>
                    <a:p>
                      <a:pPr algn="l"/>
                      <a:r>
                        <a:rPr lang="en-US" sz="1600" dirty="0">
                          <a:solidFill>
                            <a:schemeClr val="tx1"/>
                          </a:solidFill>
                        </a:rPr>
                        <a:t>ECS with E4</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indent="0" algn="ctr" defTabSz="1087869" rtl="0" eaLnBrk="1" fontAlgn="auto" latinLnBrk="0" hangingPunct="1">
                        <a:lnSpc>
                          <a:spcPct val="100000"/>
                        </a:lnSpc>
                        <a:spcBef>
                          <a:spcPts val="0"/>
                        </a:spcBef>
                        <a:spcAft>
                          <a:spcPts val="0"/>
                        </a:spcAft>
                        <a:buClrTx/>
                        <a:buSzTx/>
                        <a:buFontTx/>
                        <a:buNone/>
                        <a:tabLst/>
                        <a:defRPr/>
                      </a:pPr>
                      <a:r>
                        <a:rPr lang="en-US" sz="1600" dirty="0">
                          <a:solidFill>
                            <a:schemeClr val="tx1"/>
                          </a:solidFill>
                        </a:rPr>
                        <a:t>$20</a:t>
                      </a:r>
                      <a:r>
                        <a:rPr lang="en-US" sz="1600" baseline="0" dirty="0">
                          <a:solidFill>
                            <a:schemeClr val="tx1"/>
                          </a:solidFill>
                        </a:rPr>
                        <a:t> E3</a:t>
                      </a:r>
                    </a:p>
                    <a:p>
                      <a:pPr marL="0" marR="0" indent="0" algn="ctr" defTabSz="1087869" rtl="0" eaLnBrk="1" fontAlgn="auto" latinLnBrk="0" hangingPunct="1">
                        <a:lnSpc>
                          <a:spcPct val="100000"/>
                        </a:lnSpc>
                        <a:spcBef>
                          <a:spcPts val="0"/>
                        </a:spcBef>
                        <a:spcAft>
                          <a:spcPts val="0"/>
                        </a:spcAft>
                        <a:buClrTx/>
                        <a:buSzTx/>
                        <a:buFontTx/>
                        <a:buNone/>
                        <a:tabLst/>
                        <a:defRPr/>
                      </a:pPr>
                      <a:r>
                        <a:rPr lang="en-US" sz="1600" baseline="0" dirty="0">
                          <a:solidFill>
                            <a:schemeClr val="tx1"/>
                          </a:solidFill>
                        </a:rPr>
                        <a:t>$2 Voice Add on</a:t>
                      </a:r>
                      <a:endParaRPr lang="en-US"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60000"/>
                        <a:lumOff val="40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mn-lt"/>
                          <a:ea typeface="+mn-ea"/>
                          <a:cs typeface="+mn-cs"/>
                        </a:rPr>
                        <a:t>↑</a:t>
                      </a:r>
                    </a:p>
                  </a:txBody>
                  <a:tcPr marL="0" marR="0" marT="0" marB="0" vert="vert"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a:r>
                        <a:rPr lang="en-US" sz="1600" dirty="0">
                          <a:solidFill>
                            <a:schemeClr val="bg1"/>
                          </a:solidFill>
                        </a:rPr>
                        <a:t>ECS with E5</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C3C00"/>
                    </a:solidFill>
                  </a:tcPr>
                </a:tc>
                <a:tc>
                  <a:txBody>
                    <a:bodyPr/>
                    <a:lstStyle/>
                    <a:p>
                      <a:pPr marL="0" marR="0" indent="0" algn="ctr" defTabSz="1087869" rtl="0" eaLnBrk="1" fontAlgn="auto" latinLnBrk="0" hangingPunct="1">
                        <a:lnSpc>
                          <a:spcPct val="100000"/>
                        </a:lnSpc>
                        <a:spcBef>
                          <a:spcPts val="0"/>
                        </a:spcBef>
                        <a:spcAft>
                          <a:spcPts val="0"/>
                        </a:spcAft>
                        <a:buClrTx/>
                        <a:buSzTx/>
                        <a:buFontTx/>
                        <a:buNone/>
                        <a:tabLst/>
                        <a:defRPr/>
                      </a:pPr>
                      <a:r>
                        <a:rPr lang="en-US" sz="1600" dirty="0"/>
                        <a:t>E5</a:t>
                      </a:r>
                      <a:r>
                        <a:rPr lang="en-US" sz="1600" baseline="0" dirty="0"/>
                        <a:t> Step up SKU</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marL="0" marR="0" indent="0" algn="ctr" defTabSz="1087869" rtl="0" eaLnBrk="1" fontAlgn="auto" latinLnBrk="0" hangingPunct="1">
                        <a:lnSpc>
                          <a:spcPct val="100000"/>
                        </a:lnSpc>
                        <a:spcBef>
                          <a:spcPts val="0"/>
                        </a:spcBef>
                        <a:spcAft>
                          <a:spcPts val="0"/>
                        </a:spcAft>
                        <a:buClrTx/>
                        <a:buSzTx/>
                        <a:buFontTx/>
                        <a:buNone/>
                        <a:tabLst/>
                        <a:defRPr/>
                      </a:pPr>
                      <a:r>
                        <a:rPr lang="en-US" sz="1600" dirty="0"/>
                        <a:t>+$13</a:t>
                      </a:r>
                      <a:r>
                        <a:rPr lang="en-US" sz="1600" baseline="0" dirty="0"/>
                        <a:t> E5 Step up</a:t>
                      </a:r>
                      <a:endParaRPr lang="en-US" sz="16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6"/>
                  </a:ext>
                </a:extLst>
              </a:tr>
            </a:tbl>
          </a:graphicData>
        </a:graphic>
      </p:graphicFrame>
      <p:sp>
        <p:nvSpPr>
          <p:cNvPr id="5" name="TextBox 7"/>
          <p:cNvSpPr txBox="1"/>
          <p:nvPr/>
        </p:nvSpPr>
        <p:spPr>
          <a:xfrm>
            <a:off x="436528" y="5028233"/>
            <a:ext cx="9973434" cy="399046"/>
          </a:xfrm>
          <a:prstGeom prst="rect">
            <a:avLst/>
          </a:prstGeom>
          <a:solidFill>
            <a:schemeClr val="bg1">
              <a:lumMod val="95000"/>
              <a:alpha val="55000"/>
            </a:schemeClr>
          </a:solidFill>
        </p:spPr>
        <p:txBody>
          <a:bodyPr wrap="square" lIns="182871" tIns="146296" rIns="182871" bIns="146296" rtlCol="0" anchor="ctr">
            <a:noAutofit/>
          </a:bodyPr>
          <a:lstStyle/>
          <a:p>
            <a:pPr marL="0" marR="0" lvl="0" indent="0" defTabSz="914367"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a:gsLst>
                    <a:gs pos="2917">
                      <a:srgbClr val="505050"/>
                    </a:gs>
                    <a:gs pos="30000">
                      <a:srgbClr val="505050"/>
                    </a:gs>
                  </a:gsLst>
                  <a:lin ang="5400000" scaled="0"/>
                </a:gradFill>
                <a:effectLst/>
                <a:uLnTx/>
                <a:uFillTx/>
              </a:rPr>
              <a:t>*New Price is in addition to what customers are currently paying for existing O365 SKUs that they are upgrading from</a:t>
            </a:r>
          </a:p>
        </p:txBody>
      </p:sp>
      <p:sp>
        <p:nvSpPr>
          <p:cNvPr id="6" name="Title 22"/>
          <p:cNvSpPr>
            <a:spLocks noGrp="1"/>
          </p:cNvSpPr>
          <p:nvPr>
            <p:ph type="title"/>
          </p:nvPr>
        </p:nvSpPr>
        <p:spPr/>
        <p:txBody>
          <a:bodyPr/>
          <a:lstStyle/>
          <a:p>
            <a:pPr defTabSz="914225">
              <a:lnSpc>
                <a:spcPts val="3500"/>
              </a:lnSpc>
              <a:defRPr/>
            </a:pPr>
            <a:r>
              <a:rPr lang="en-US" sz="3137" b="1" kern="900" spc="294" dirty="0">
                <a:solidFill>
                  <a:schemeClr val="accent1"/>
                </a:solidFill>
                <a:latin typeface="+mn-lt"/>
                <a:ea typeface="+mj-ea"/>
                <a:cs typeface="+mj-cs"/>
              </a:rPr>
              <a:t>SCENARIO SUMMARY</a:t>
            </a:r>
          </a:p>
        </p:txBody>
      </p:sp>
    </p:spTree>
    <p:extLst>
      <p:ext uri="{BB962C8B-B14F-4D97-AF65-F5344CB8AC3E}">
        <p14:creationId xmlns:p14="http://schemas.microsoft.com/office/powerpoint/2010/main" val="130259437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43867974"/>
              </p:ext>
            </p:extLst>
          </p:nvPr>
        </p:nvGraphicFramePr>
        <p:xfrm>
          <a:off x="316582" y="866732"/>
          <a:ext cx="11607891" cy="5067904"/>
        </p:xfrm>
        <a:graphic>
          <a:graphicData uri="http://schemas.openxmlformats.org/drawingml/2006/table">
            <a:tbl>
              <a:tblPr firstRow="1" bandRow="1">
                <a:tableStyleId>{5940675A-B579-460E-94D1-54222C63F5DA}</a:tableStyleId>
              </a:tblPr>
              <a:tblGrid>
                <a:gridCol w="3192603">
                  <a:extLst>
                    <a:ext uri="{9D8B030D-6E8A-4147-A177-3AD203B41FA5}">
                      <a16:colId xmlns:a16="http://schemas.microsoft.com/office/drawing/2014/main" val="20000"/>
                    </a:ext>
                  </a:extLst>
                </a:gridCol>
                <a:gridCol w="1959294">
                  <a:extLst>
                    <a:ext uri="{9D8B030D-6E8A-4147-A177-3AD203B41FA5}">
                      <a16:colId xmlns:a16="http://schemas.microsoft.com/office/drawing/2014/main" val="20005"/>
                    </a:ext>
                  </a:extLst>
                </a:gridCol>
                <a:gridCol w="1406822">
                  <a:extLst>
                    <a:ext uri="{9D8B030D-6E8A-4147-A177-3AD203B41FA5}">
                      <a16:colId xmlns:a16="http://schemas.microsoft.com/office/drawing/2014/main" val="20001"/>
                    </a:ext>
                  </a:extLst>
                </a:gridCol>
                <a:gridCol w="1578582">
                  <a:extLst>
                    <a:ext uri="{9D8B030D-6E8A-4147-A177-3AD203B41FA5}">
                      <a16:colId xmlns:a16="http://schemas.microsoft.com/office/drawing/2014/main" val="20002"/>
                    </a:ext>
                  </a:extLst>
                </a:gridCol>
                <a:gridCol w="1956748">
                  <a:extLst>
                    <a:ext uri="{9D8B030D-6E8A-4147-A177-3AD203B41FA5}">
                      <a16:colId xmlns:a16="http://schemas.microsoft.com/office/drawing/2014/main" val="3160827616"/>
                    </a:ext>
                  </a:extLst>
                </a:gridCol>
                <a:gridCol w="1513842">
                  <a:extLst>
                    <a:ext uri="{9D8B030D-6E8A-4147-A177-3AD203B41FA5}">
                      <a16:colId xmlns:a16="http://schemas.microsoft.com/office/drawing/2014/main" val="20004"/>
                    </a:ext>
                  </a:extLst>
                </a:gridCol>
              </a:tblGrid>
              <a:tr h="680300">
                <a:tc>
                  <a:txBody>
                    <a:bodyPr/>
                    <a:lstStyle/>
                    <a:p>
                      <a:pPr marL="0" algn="ctr" defTabSz="932111" rtl="0" eaLnBrk="1" fontAlgn="base" latinLnBrk="0" hangingPunct="1">
                        <a:spcBef>
                          <a:spcPct val="0"/>
                        </a:spcBef>
                        <a:spcAft>
                          <a:spcPct val="0"/>
                        </a:spcAft>
                      </a:pPr>
                      <a:endParaRPr lang="en-US" sz="20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91427" marR="91427" marT="45706" marB="45706"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111" rtl="0" eaLnBrk="1" fontAlgn="base" latinLnBrk="0" hangingPunct="1">
                        <a:spcBef>
                          <a:spcPct val="0"/>
                        </a:spcBef>
                        <a:spcAft>
                          <a:spcPct val="0"/>
                        </a:spcAft>
                      </a:pPr>
                      <a:r>
                        <a:rPr lang="en-US" sz="2000" kern="0" dirty="0">
                          <a:gradFill>
                            <a:gsLst>
                              <a:gs pos="0">
                                <a:srgbClr val="FFFFFF"/>
                              </a:gs>
                              <a:gs pos="100000">
                                <a:srgbClr val="FFFFFF"/>
                              </a:gs>
                            </a:gsLst>
                            <a:lin ang="5400000" scaled="0"/>
                          </a:gradFill>
                          <a:latin typeface="+mn-lt"/>
                          <a:ea typeface="Segoe UI" pitchFamily="34" charset="0"/>
                          <a:cs typeface="Segoe UI" pitchFamily="34" charset="0"/>
                        </a:rPr>
                        <a:t>Pre-</a:t>
                      </a:r>
                      <a:r>
                        <a:rPr lang="en-US" sz="2000" kern="0" dirty="0" err="1">
                          <a:gradFill>
                            <a:gsLst>
                              <a:gs pos="0">
                                <a:srgbClr val="FFFFFF"/>
                              </a:gs>
                              <a:gs pos="100000">
                                <a:srgbClr val="FFFFFF"/>
                              </a:gs>
                            </a:gsLst>
                            <a:lin ang="5400000" scaled="0"/>
                          </a:gradFill>
                          <a:latin typeface="+mn-lt"/>
                          <a:ea typeface="Segoe UI" pitchFamily="34" charset="0"/>
                          <a:cs typeface="Segoe UI" pitchFamily="34" charset="0"/>
                        </a:rPr>
                        <a:t>Reqs</a:t>
                      </a:r>
                      <a:endParaRPr lang="en-US" sz="20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91427" marR="91427" marT="45706" marB="45706" anchor="ctr">
                    <a:lnL w="28575"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302E">
                        <a:alpha val="92000"/>
                      </a:srgbClr>
                    </a:solidFill>
                  </a:tcPr>
                </a:tc>
                <a:tc>
                  <a:txBody>
                    <a:bodyPr/>
                    <a:lstStyle/>
                    <a:p>
                      <a:pPr marL="0" algn="ctr" defTabSz="932111" rtl="0" eaLnBrk="1" fontAlgn="base" latinLnBrk="0" hangingPunct="1">
                        <a:spcBef>
                          <a:spcPct val="0"/>
                        </a:spcBef>
                        <a:spcAft>
                          <a:spcPct val="0"/>
                        </a:spcAft>
                      </a:pPr>
                      <a:r>
                        <a:rPr lang="en-US" sz="2000" kern="0" dirty="0">
                          <a:gradFill>
                            <a:gsLst>
                              <a:gs pos="0">
                                <a:srgbClr val="FFFFFF"/>
                              </a:gs>
                              <a:gs pos="100000">
                                <a:srgbClr val="FFFFFF"/>
                              </a:gs>
                            </a:gsLst>
                            <a:lin ang="5400000" scaled="0"/>
                          </a:gradFill>
                          <a:latin typeface="+mn-lt"/>
                          <a:ea typeface="Segoe UI" pitchFamily="34" charset="0"/>
                          <a:cs typeface="Segoe UI" pitchFamily="34" charset="0"/>
                        </a:rPr>
                        <a:t>E5</a:t>
                      </a:r>
                    </a:p>
                  </a:txBody>
                  <a:tcPr marL="91427" marR="91427" marT="45706" marB="45706" anchor="ctr">
                    <a:lnL w="28575"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302E">
                        <a:alpha val="92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2000" kern="0" dirty="0">
                          <a:gradFill>
                            <a:gsLst>
                              <a:gs pos="0">
                                <a:srgbClr val="FFFFFF"/>
                              </a:gs>
                              <a:gs pos="100000">
                                <a:srgbClr val="FFFFFF"/>
                              </a:gs>
                            </a:gsLst>
                            <a:lin ang="5400000" scaled="0"/>
                          </a:gradFill>
                          <a:latin typeface="+mn-lt"/>
                          <a:ea typeface="Segoe UI" pitchFamily="34" charset="0"/>
                          <a:cs typeface="Segoe UI" pitchFamily="34" charset="0"/>
                        </a:rPr>
                        <a:t>E1/E3</a:t>
                      </a:r>
                    </a:p>
                  </a:txBody>
                  <a:tcPr marL="91427" marR="91427" marT="45706" marB="4570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302E">
                        <a:alpha val="92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0" dirty="0">
                          <a:gradFill>
                            <a:gsLst>
                              <a:gs pos="0">
                                <a:srgbClr val="FFFFFF"/>
                              </a:gs>
                              <a:gs pos="100000">
                                <a:srgbClr val="FFFFFF"/>
                              </a:gs>
                            </a:gsLst>
                            <a:lin ang="5400000" scaled="0"/>
                          </a:gradFill>
                          <a:latin typeface="+mn-lt"/>
                          <a:ea typeface="Segoe UI" pitchFamily="34" charset="0"/>
                          <a:cs typeface="Segoe UI" pitchFamily="34" charset="0"/>
                        </a:rPr>
                        <a:t>Business</a:t>
                      </a:r>
                      <a:r>
                        <a:rPr lang="en-US" sz="1400" kern="0" baseline="0" dirty="0">
                          <a:gradFill>
                            <a:gsLst>
                              <a:gs pos="0">
                                <a:srgbClr val="FFFFFF"/>
                              </a:gs>
                              <a:gs pos="100000">
                                <a:srgbClr val="FFFFFF"/>
                              </a:gs>
                            </a:gsLst>
                            <a:lin ang="5400000" scaled="0"/>
                          </a:gradFill>
                          <a:latin typeface="+mn-lt"/>
                          <a:ea typeface="Segoe UI" pitchFamily="34" charset="0"/>
                          <a:cs typeface="Segoe UI" pitchFamily="34" charset="0"/>
                        </a:rPr>
                        <a:t> Essentials</a:t>
                      </a:r>
                      <a:br>
                        <a:rPr lang="en-US" sz="1400" kern="0" baseline="0" dirty="0">
                          <a:gradFill>
                            <a:gsLst>
                              <a:gs pos="0">
                                <a:srgbClr val="FFFFFF"/>
                              </a:gs>
                              <a:gs pos="100000">
                                <a:srgbClr val="FFFFFF"/>
                              </a:gs>
                            </a:gsLst>
                            <a:lin ang="5400000" scaled="0"/>
                          </a:gradFill>
                          <a:latin typeface="+mn-lt"/>
                          <a:ea typeface="Segoe UI" pitchFamily="34" charset="0"/>
                          <a:cs typeface="Segoe UI" pitchFamily="34" charset="0"/>
                        </a:rPr>
                      </a:br>
                      <a:r>
                        <a:rPr lang="en-US" sz="1000" kern="0" baseline="0" dirty="0">
                          <a:gradFill>
                            <a:gsLst>
                              <a:gs pos="0">
                                <a:srgbClr val="FFFFFF"/>
                              </a:gs>
                              <a:gs pos="100000">
                                <a:srgbClr val="FFFFFF"/>
                              </a:gs>
                            </a:gsLst>
                            <a:lin ang="5400000" scaled="0"/>
                          </a:gradFill>
                          <a:latin typeface="+mn-lt"/>
                          <a:ea typeface="Segoe UI" pitchFamily="34" charset="0"/>
                          <a:cs typeface="Segoe UI" pitchFamily="34" charset="0"/>
                        </a:rPr>
                        <a:t>or</a:t>
                      </a: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p>
                      <a:pPr marL="0" marR="0" indent="0" algn="ctr" defTabSz="932111" rtl="0" eaLnBrk="1" fontAlgn="base" latinLnBrk="0" hangingPunct="1">
                        <a:lnSpc>
                          <a:spcPct val="100000"/>
                        </a:lnSpc>
                        <a:spcBef>
                          <a:spcPct val="0"/>
                        </a:spcBef>
                        <a:spcAft>
                          <a:spcPct val="0"/>
                        </a:spcAft>
                        <a:buClrTx/>
                        <a:buSzTx/>
                        <a:buFontTx/>
                        <a:buNone/>
                        <a:tabLst/>
                        <a:defRPr/>
                      </a:pPr>
                      <a:r>
                        <a:rPr lang="en-US" sz="1400" kern="0" dirty="0">
                          <a:gradFill>
                            <a:gsLst>
                              <a:gs pos="0">
                                <a:srgbClr val="FFFFFF"/>
                              </a:gs>
                              <a:gs pos="100000">
                                <a:srgbClr val="FFFFFF"/>
                              </a:gs>
                            </a:gsLst>
                            <a:lin ang="5400000" scaled="0"/>
                          </a:gradFill>
                          <a:latin typeface="+mn-lt"/>
                          <a:ea typeface="Segoe UI" pitchFamily="34" charset="0"/>
                          <a:cs typeface="Segoe UI" pitchFamily="34" charset="0"/>
                        </a:rPr>
                        <a:t>Business Premium</a:t>
                      </a:r>
                    </a:p>
                  </a:txBody>
                  <a:tcPr marL="91427" marR="91427" marT="45706" marB="4570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302E">
                        <a:alpha val="92000"/>
                      </a:srgbClr>
                    </a:solidFill>
                  </a:tcPr>
                </a:tc>
                <a:tc>
                  <a:txBody>
                    <a:bodyPr/>
                    <a:lstStyle/>
                    <a:p>
                      <a:pPr marL="0" algn="ctr" defTabSz="932111" rtl="0" eaLnBrk="1" fontAlgn="base" latinLnBrk="0" hangingPunct="1">
                        <a:spcBef>
                          <a:spcPct val="0"/>
                        </a:spcBef>
                        <a:spcAft>
                          <a:spcPct val="0"/>
                        </a:spcAft>
                      </a:pPr>
                      <a:r>
                        <a:rPr lang="en-US" sz="2000" kern="0" dirty="0">
                          <a:gradFill>
                            <a:gsLst>
                              <a:gs pos="0">
                                <a:srgbClr val="FFFFFF"/>
                              </a:gs>
                              <a:gs pos="100000">
                                <a:srgbClr val="FFFFFF"/>
                              </a:gs>
                            </a:gsLst>
                            <a:lin ang="5400000" scaled="0"/>
                          </a:gradFill>
                          <a:latin typeface="+mn-lt"/>
                          <a:ea typeface="Segoe UI" pitchFamily="34" charset="0"/>
                          <a:cs typeface="Segoe UI" pitchFamily="34" charset="0"/>
                        </a:rPr>
                        <a:t>Price</a:t>
                      </a:r>
                    </a:p>
                  </a:txBody>
                  <a:tcPr marL="91427" marR="91427" marT="45706" marB="45706" anchor="ctr">
                    <a:lnL w="63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3302E">
                        <a:alpha val="92000"/>
                      </a:srgbClr>
                    </a:solidFill>
                  </a:tcPr>
                </a:tc>
                <a:extLst>
                  <a:ext uri="{0D108BD9-81ED-4DB2-BD59-A6C34878D82A}">
                    <a16:rowId xmlns:a16="http://schemas.microsoft.com/office/drawing/2014/main" val="10000"/>
                  </a:ext>
                </a:extLst>
              </a:tr>
              <a:tr h="588176">
                <a:tc>
                  <a:txBody>
                    <a:bodyPr/>
                    <a:lstStyle/>
                    <a:p>
                      <a:pPr algn="l">
                        <a:spcAft>
                          <a:spcPts val="1200"/>
                        </a:spcAft>
                      </a:pPr>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Advanced Threat Protection</a:t>
                      </a: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l" defTabSz="932111" rtl="0" eaLnBrk="1" fontAlgn="base" latinLnBrk="0" hangingPunct="1">
                        <a:lnSpc>
                          <a:spcPct val="100000"/>
                        </a:lnSpc>
                        <a:spcBef>
                          <a:spcPct val="0"/>
                        </a:spcBef>
                        <a:spcAft>
                          <a:spcPct val="0"/>
                        </a:spcAft>
                        <a:buClrTx/>
                        <a:buSzTx/>
                        <a:buFontTx/>
                        <a:buNone/>
                        <a:tabLst/>
                        <a:defRPr/>
                      </a:pPr>
                      <a:r>
                        <a:rPr lang="en-US" sz="1400" kern="0" dirty="0">
                          <a:solidFill>
                            <a:srgbClr val="2A2A2A"/>
                          </a:solidFill>
                          <a:latin typeface="+mn-lt"/>
                          <a:ea typeface="Segoe UI" pitchFamily="34" charset="0"/>
                          <a:cs typeface="Segoe UI Semilight" panose="020B0402040204020203" pitchFamily="34" charset="0"/>
                        </a:rPr>
                        <a:t>Exchange Online</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Includ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2</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1"/>
                  </a:ext>
                </a:extLst>
              </a:tr>
              <a:tr h="525708">
                <a:tc>
                  <a:txBody>
                    <a:bodyPr/>
                    <a:lstStyle/>
                    <a:p>
                      <a:pPr algn="l">
                        <a:spcAft>
                          <a:spcPts val="1200"/>
                        </a:spcAft>
                      </a:pPr>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Customer</a:t>
                      </a:r>
                      <a:r>
                        <a:rPr lang="en-US" sz="1800" kern="0" baseline="0" dirty="0">
                          <a:gradFill>
                            <a:gsLst>
                              <a:gs pos="0">
                                <a:srgbClr val="FFFFFF"/>
                              </a:gs>
                              <a:gs pos="100000">
                                <a:srgbClr val="FFFFFF"/>
                              </a:gs>
                            </a:gsLst>
                            <a:lin ang="5400000" scaled="0"/>
                          </a:gradFill>
                          <a:latin typeface="+mn-lt"/>
                          <a:ea typeface="Segoe UI" pitchFamily="34" charset="0"/>
                          <a:cs typeface="Segoe UI" pitchFamily="34" charset="0"/>
                        </a:rPr>
                        <a:t> Lockbox</a:t>
                      </a:r>
                      <a:endParaRPr lang="en-US" sz="18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l" defTabSz="932111" rtl="0" eaLnBrk="1" fontAlgn="base" latinLnBrk="0" hangingPunct="1">
                        <a:lnSpc>
                          <a:spcPct val="100000"/>
                        </a:lnSpc>
                        <a:spcBef>
                          <a:spcPct val="0"/>
                        </a:spcBef>
                        <a:spcAft>
                          <a:spcPct val="0"/>
                        </a:spcAft>
                        <a:buClrTx/>
                        <a:buSzTx/>
                        <a:buFontTx/>
                        <a:buNone/>
                        <a:tabLst/>
                        <a:defRPr/>
                      </a:pPr>
                      <a:r>
                        <a:rPr lang="en-US" sz="1400" kern="0" dirty="0">
                          <a:solidFill>
                            <a:srgbClr val="2A2A2A"/>
                          </a:solidFill>
                          <a:latin typeface="+mn-lt"/>
                          <a:ea typeface="Segoe UI" pitchFamily="34" charset="0"/>
                          <a:cs typeface="Segoe UI Semilight" panose="020B0402040204020203" pitchFamily="34" charset="0"/>
                        </a:rPr>
                        <a:t>Exchange Online or SharePoint Online</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Includ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2</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2"/>
                  </a:ext>
                </a:extLst>
              </a:tr>
              <a:tr h="420704">
                <a:tc>
                  <a:txBody>
                    <a:bodyPr/>
                    <a:lstStyle/>
                    <a:p>
                      <a:pPr algn="l"/>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Delve Analytics</a:t>
                      </a: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l" defTabSz="932111" rtl="0" eaLnBrk="1" fontAlgn="base" latinLnBrk="0" hangingPunct="1">
                        <a:lnSpc>
                          <a:spcPct val="100000"/>
                        </a:lnSpc>
                        <a:spcBef>
                          <a:spcPct val="0"/>
                        </a:spcBef>
                        <a:spcAft>
                          <a:spcPct val="0"/>
                        </a:spcAft>
                        <a:buClrTx/>
                        <a:buSzTx/>
                        <a:buFontTx/>
                        <a:buNone/>
                        <a:tabLst/>
                        <a:defRPr/>
                      </a:pPr>
                      <a:r>
                        <a:rPr lang="en-US" sz="1400" kern="0" dirty="0">
                          <a:solidFill>
                            <a:srgbClr val="2A2A2A"/>
                          </a:solidFill>
                          <a:latin typeface="+mn-lt"/>
                          <a:ea typeface="Segoe UI" pitchFamily="34" charset="0"/>
                          <a:cs typeface="Segoe UI Semilight" panose="020B0402040204020203" pitchFamily="34" charset="0"/>
                        </a:rPr>
                        <a:t>Exchange Online</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Includ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3"/>
                  </a:ext>
                </a:extLst>
              </a:tr>
              <a:tr h="420704">
                <a:tc>
                  <a:txBody>
                    <a:bodyPr/>
                    <a:lstStyle/>
                    <a:p>
                      <a:pPr algn="l"/>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Power BI Pro</a:t>
                      </a: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l" defTabSz="932111" rtl="0" eaLnBrk="1" fontAlgn="base" latinLnBrk="0" hangingPunct="1">
                        <a:lnSpc>
                          <a:spcPct val="100000"/>
                        </a:lnSpc>
                        <a:spcBef>
                          <a:spcPct val="0"/>
                        </a:spcBef>
                        <a:spcAft>
                          <a:spcPct val="0"/>
                        </a:spcAft>
                        <a:buClrTx/>
                        <a:buSzTx/>
                        <a:buFontTx/>
                        <a:buNone/>
                        <a:tabLst/>
                        <a:defRPr/>
                      </a:pPr>
                      <a:r>
                        <a:rPr lang="en-US" sz="1400" kern="0" dirty="0">
                          <a:solidFill>
                            <a:srgbClr val="2A2A2A"/>
                          </a:solidFill>
                          <a:latin typeface="+mn-lt"/>
                          <a:ea typeface="Segoe UI" pitchFamily="34" charset="0"/>
                          <a:cs typeface="Segoe UI Semilight" panose="020B0402040204020203" pitchFamily="34" charset="0"/>
                        </a:rPr>
                        <a:t>None</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Includ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algn="ctr" defTabSz="932111" rtl="0" eaLnBrk="1" fontAlgn="base" latinLnBrk="0" hangingPunct="1">
                        <a:spcBef>
                          <a:spcPct val="0"/>
                        </a:spcBef>
                        <a:spcAft>
                          <a:spcPct val="0"/>
                        </a:spcAft>
                      </a:pPr>
                      <a:r>
                        <a:rPr lang="en-US" sz="1600" kern="0" dirty="0">
                          <a:solidFill>
                            <a:schemeClr val="tx1"/>
                          </a:solidFill>
                          <a:latin typeface="+mn-lt"/>
                          <a:ea typeface="Segoe UI" pitchFamily="34" charset="0"/>
                          <a:cs typeface="Segoe UI" pitchFamily="34" charset="0"/>
                        </a:rPr>
                        <a:t>$10</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4"/>
                  </a:ext>
                </a:extLst>
              </a:tr>
              <a:tr h="649376">
                <a:tc>
                  <a:txBody>
                    <a:bodyPr/>
                    <a:lstStyle/>
                    <a:p>
                      <a:pPr algn="l"/>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Equivio</a:t>
                      </a:r>
                      <a:r>
                        <a:rPr lang="en-US" sz="1800" kern="0" baseline="0" dirty="0">
                          <a:gradFill>
                            <a:gsLst>
                              <a:gs pos="0">
                                <a:srgbClr val="FFFFFF"/>
                              </a:gs>
                              <a:gs pos="100000">
                                <a:srgbClr val="FFFFFF"/>
                              </a:gs>
                            </a:gsLst>
                            <a:lin ang="5400000" scaled="0"/>
                          </a:gradFill>
                          <a:latin typeface="+mn-lt"/>
                          <a:ea typeface="Segoe UI" pitchFamily="34" charset="0"/>
                          <a:cs typeface="Segoe UI" pitchFamily="34" charset="0"/>
                        </a:rPr>
                        <a:t> Analytics for </a:t>
                      </a:r>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eDiscovery</a:t>
                      </a: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l" defTabSz="932111" rtl="0" eaLnBrk="1" fontAlgn="base" latinLnBrk="0" hangingPunct="1">
                        <a:lnSpc>
                          <a:spcPct val="100000"/>
                        </a:lnSpc>
                        <a:spcBef>
                          <a:spcPct val="0"/>
                        </a:spcBef>
                        <a:spcAft>
                          <a:spcPct val="0"/>
                        </a:spcAft>
                        <a:buClrTx/>
                        <a:buSzTx/>
                        <a:buFontTx/>
                        <a:buNone/>
                        <a:tabLst/>
                        <a:defRPr/>
                      </a:pPr>
                      <a:r>
                        <a:rPr lang="en-US" sz="1400" kern="0" dirty="0">
                          <a:solidFill>
                            <a:srgbClr val="2A2A2A"/>
                          </a:solidFill>
                          <a:latin typeface="+mn-lt"/>
                          <a:ea typeface="Segoe UI" pitchFamily="34" charset="0"/>
                          <a:cs typeface="Segoe UI Semilight" panose="020B0402040204020203" pitchFamily="34" charset="0"/>
                        </a:rPr>
                        <a:t>Exchange Online or SharePoint Online</a:t>
                      </a: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Includ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8</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5"/>
                  </a:ext>
                </a:extLst>
              </a:tr>
              <a:tr h="525708">
                <a:tc>
                  <a:txBody>
                    <a:bodyPr/>
                    <a:lstStyle/>
                    <a:p>
                      <a:pPr algn="l">
                        <a:spcAft>
                          <a:spcPts val="1200"/>
                        </a:spcAft>
                      </a:pPr>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Cloud PBX</a:t>
                      </a: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l" defTabSz="932111" rtl="0" eaLnBrk="1" fontAlgn="base" latinLnBrk="0" hangingPunct="1">
                        <a:lnSpc>
                          <a:spcPct val="100000"/>
                        </a:lnSpc>
                        <a:spcBef>
                          <a:spcPct val="0"/>
                        </a:spcBef>
                        <a:spcAft>
                          <a:spcPct val="0"/>
                        </a:spcAft>
                        <a:buClrTx/>
                        <a:buSzTx/>
                        <a:buFontTx/>
                        <a:buNone/>
                        <a:tabLst/>
                        <a:defRPr/>
                      </a:pPr>
                      <a:r>
                        <a:rPr lang="en-US" sz="1400" kern="0" dirty="0">
                          <a:solidFill>
                            <a:srgbClr val="2A2A2A"/>
                          </a:solidFill>
                          <a:latin typeface="+mn-lt"/>
                          <a:ea typeface="Segoe UI" pitchFamily="34" charset="0"/>
                          <a:cs typeface="Segoe UI Semilight" panose="020B0402040204020203" pitchFamily="34" charset="0"/>
                        </a:rPr>
                        <a:t>Skype for Business Online</a:t>
                      </a:r>
                      <a:r>
                        <a:rPr lang="en-US" sz="1400" kern="0" baseline="0" dirty="0">
                          <a:solidFill>
                            <a:srgbClr val="2A2A2A"/>
                          </a:solidFill>
                          <a:latin typeface="+mn-lt"/>
                          <a:ea typeface="Segoe UI" pitchFamily="34" charset="0"/>
                          <a:cs typeface="Segoe UI Semilight" panose="020B0402040204020203" pitchFamily="34" charset="0"/>
                        </a:rPr>
                        <a:t> Plan 2</a:t>
                      </a:r>
                      <a:endParaRPr lang="en-US" sz="1600" kern="0" dirty="0">
                        <a:solidFill>
                          <a:srgbClr val="2A2A2A"/>
                        </a:solidFill>
                        <a:latin typeface="+mn-lt"/>
                        <a:ea typeface="Segoe UI" pitchFamily="34" charset="0"/>
                        <a:cs typeface="Segoe UI Semilight" panose="020B0402040204020203" pitchFamily="34" charset="0"/>
                      </a:endParaRP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Includ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N/A</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8</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6"/>
                  </a:ext>
                </a:extLst>
              </a:tr>
              <a:tr h="525708">
                <a:tc>
                  <a:txBody>
                    <a:bodyPr/>
                    <a:lstStyle/>
                    <a:p>
                      <a:pPr algn="l">
                        <a:spcAft>
                          <a:spcPts val="1200"/>
                        </a:spcAft>
                      </a:pPr>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PSTN Conferencing</a:t>
                      </a: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lvl="0" indent="0" algn="l" defTabSz="932111"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A2A2A"/>
                          </a:solidFill>
                          <a:effectLst/>
                          <a:uLnTx/>
                          <a:uFillTx/>
                          <a:latin typeface="+mn-lt"/>
                          <a:ea typeface="Segoe UI" pitchFamily="34" charset="0"/>
                          <a:cs typeface="Segoe UI Semilight" panose="020B0402040204020203" pitchFamily="34" charset="0"/>
                        </a:rPr>
                        <a:t>Skype for Business Online Plan 2</a:t>
                      </a:r>
                      <a:endParaRPr kumimoji="0" lang="en-US" sz="1600" b="0" i="0" u="none" strike="noStrike" kern="0" cap="none" spc="0" normalizeH="0" baseline="0" noProof="0" dirty="0">
                        <a:ln>
                          <a:noFill/>
                        </a:ln>
                        <a:solidFill>
                          <a:srgbClr val="2A2A2A"/>
                        </a:solidFill>
                        <a:effectLst/>
                        <a:uLnTx/>
                        <a:uFillTx/>
                        <a:latin typeface="+mn-lt"/>
                        <a:ea typeface="Segoe UI" pitchFamily="34" charset="0"/>
                        <a:cs typeface="Segoe UI Semilight" panose="020B0402040204020203" pitchFamily="34" charset="0"/>
                      </a:endParaRP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Included</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endParaRPr lang="en-US" sz="1100" kern="0" dirty="0">
                        <a:solidFill>
                          <a:srgbClr val="2A2A2A"/>
                        </a:solidFill>
                        <a:latin typeface="+mn-lt"/>
                        <a:ea typeface="Segoe UI" pitchFamily="34" charset="0"/>
                        <a:cs typeface="Segoe UI Semilight" panose="020B0402040204020203"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A2A2A"/>
                          </a:solidFill>
                          <a:effectLst/>
                          <a:uLnTx/>
                          <a:uFillTx/>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4</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7"/>
                  </a:ext>
                </a:extLst>
              </a:tr>
              <a:tr h="698616">
                <a:tc>
                  <a:txBody>
                    <a:bodyPr/>
                    <a:lstStyle/>
                    <a:p>
                      <a:pPr algn="l">
                        <a:spcAft>
                          <a:spcPts val="1200"/>
                        </a:spcAft>
                      </a:pPr>
                      <a:r>
                        <a:rPr lang="en-US" sz="1800" kern="0" dirty="0">
                          <a:gradFill>
                            <a:gsLst>
                              <a:gs pos="0">
                                <a:srgbClr val="FFFFFF"/>
                              </a:gs>
                              <a:gs pos="100000">
                                <a:srgbClr val="FFFFFF"/>
                              </a:gs>
                            </a:gsLst>
                            <a:lin ang="5400000" scaled="0"/>
                          </a:gradFill>
                          <a:latin typeface="+mn-lt"/>
                          <a:ea typeface="Segoe UI" pitchFamily="34" charset="0"/>
                          <a:cs typeface="Segoe UI" pitchFamily="34" charset="0"/>
                        </a:rPr>
                        <a:t>PSTN Calling (US Only)</a:t>
                      </a:r>
                    </a:p>
                  </a:txBody>
                  <a:tcPr marL="91427" marR="91427" marT="45706" marB="45706"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p>
                      <a:pPr marL="0" marR="0" indent="0" algn="l" defTabSz="932111" rtl="0" eaLnBrk="1" fontAlgn="base" latinLnBrk="0" hangingPunct="1">
                        <a:lnSpc>
                          <a:spcPct val="100000"/>
                        </a:lnSpc>
                        <a:spcBef>
                          <a:spcPct val="0"/>
                        </a:spcBef>
                        <a:spcAft>
                          <a:spcPct val="0"/>
                        </a:spcAft>
                        <a:buClrTx/>
                        <a:buSzTx/>
                        <a:buFontTx/>
                        <a:buNone/>
                        <a:tabLst/>
                        <a:defRPr/>
                      </a:pPr>
                      <a:r>
                        <a:rPr lang="en-US" sz="1400" kern="0" dirty="0">
                          <a:solidFill>
                            <a:srgbClr val="2A2A2A"/>
                          </a:solidFill>
                          <a:latin typeface="+mn-lt"/>
                          <a:ea typeface="Segoe UI" pitchFamily="34" charset="0"/>
                          <a:cs typeface="Segoe UI Semilight" panose="020B0402040204020203" pitchFamily="34" charset="0"/>
                        </a:rPr>
                        <a:t>Skype for Business Online</a:t>
                      </a:r>
                      <a:r>
                        <a:rPr lang="en-US" sz="1400" kern="0" baseline="0" dirty="0">
                          <a:solidFill>
                            <a:srgbClr val="2A2A2A"/>
                          </a:solidFill>
                          <a:latin typeface="+mn-lt"/>
                          <a:ea typeface="Segoe UI" pitchFamily="34" charset="0"/>
                          <a:cs typeface="Segoe UI Semilight" panose="020B0402040204020203" pitchFamily="34" charset="0"/>
                        </a:rPr>
                        <a:t> Plan 2</a:t>
                      </a:r>
                    </a:p>
                    <a:p>
                      <a:pPr marL="0" marR="0" indent="0" algn="l" defTabSz="932111" rtl="0" eaLnBrk="1" fontAlgn="base" latinLnBrk="0" hangingPunct="1">
                        <a:lnSpc>
                          <a:spcPct val="100000"/>
                        </a:lnSpc>
                        <a:spcBef>
                          <a:spcPct val="0"/>
                        </a:spcBef>
                        <a:spcAft>
                          <a:spcPct val="0"/>
                        </a:spcAft>
                        <a:buClrTx/>
                        <a:buSzTx/>
                        <a:buFontTx/>
                        <a:buNone/>
                        <a:tabLst/>
                        <a:defRPr/>
                      </a:pPr>
                      <a:r>
                        <a:rPr lang="en-US" sz="1400" kern="0" baseline="0" dirty="0">
                          <a:solidFill>
                            <a:srgbClr val="2A2A2A"/>
                          </a:solidFill>
                          <a:latin typeface="+mn-lt"/>
                          <a:ea typeface="Segoe UI" pitchFamily="34" charset="0"/>
                          <a:cs typeface="Segoe UI Semilight" panose="020B0402040204020203" pitchFamily="34" charset="0"/>
                        </a:rPr>
                        <a:t>+ Cloud PBX</a:t>
                      </a:r>
                      <a:endParaRPr lang="en-US" sz="1400" kern="0" dirty="0">
                        <a:solidFill>
                          <a:srgbClr val="2A2A2A"/>
                        </a:solidFill>
                        <a:latin typeface="+mn-lt"/>
                        <a:ea typeface="Segoe UI" pitchFamily="34" charset="0"/>
                        <a:cs typeface="Segoe UI Semilight" panose="020B0402040204020203" pitchFamily="34" charset="0"/>
                      </a:endParaRPr>
                    </a:p>
                  </a:txBody>
                  <a:tcPr marL="45720" marR="4572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Add-on</a:t>
                      </a:r>
                      <a:br>
                        <a:rPr lang="en-US" sz="1600" kern="0" dirty="0">
                          <a:solidFill>
                            <a:srgbClr val="2A2A2A"/>
                          </a:solidFill>
                          <a:latin typeface="+mn-lt"/>
                          <a:ea typeface="Segoe UI" pitchFamily="34" charset="0"/>
                          <a:cs typeface="Segoe UI Semilight" panose="020B0402040204020203" pitchFamily="34" charset="0"/>
                        </a:rPr>
                      </a:br>
                      <a:r>
                        <a:rPr lang="en-US" sz="1100" kern="0" dirty="0">
                          <a:solidFill>
                            <a:srgbClr val="2A2A2A"/>
                          </a:solidFill>
                          <a:latin typeface="+mn-lt"/>
                          <a:ea typeface="Segoe UI" pitchFamily="34" charset="0"/>
                          <a:cs typeface="Segoe UI Semilight" panose="020B0402040204020203" pitchFamily="34" charset="0"/>
                        </a:rPr>
                        <a:t>Cloud</a:t>
                      </a:r>
                      <a:r>
                        <a:rPr lang="en-US" sz="1100" kern="0" baseline="0" dirty="0">
                          <a:solidFill>
                            <a:srgbClr val="2A2A2A"/>
                          </a:solidFill>
                          <a:latin typeface="+mn-lt"/>
                          <a:ea typeface="Segoe UI" pitchFamily="34" charset="0"/>
                          <a:cs typeface="Segoe UI Semilight" panose="020B0402040204020203" pitchFamily="34" charset="0"/>
                        </a:rPr>
                        <a:t> PBX Required</a:t>
                      </a:r>
                      <a:endParaRPr lang="en-US" sz="1100" kern="0" dirty="0">
                        <a:solidFill>
                          <a:srgbClr val="2A2A2A"/>
                        </a:solidFill>
                        <a:latin typeface="+mn-lt"/>
                        <a:ea typeface="Segoe UI" pitchFamily="34" charset="0"/>
                        <a:cs typeface="Segoe UI Semilight" panose="020B0402040204020203"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lvl="0" indent="0" algn="ctr" defTabSz="932111"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rgbClr val="2A2A2A"/>
                          </a:solidFill>
                          <a:effectLst/>
                          <a:uLnTx/>
                          <a:uFillTx/>
                          <a:latin typeface="+mn-lt"/>
                          <a:ea typeface="Segoe UI" pitchFamily="34" charset="0"/>
                          <a:cs typeface="Segoe UI Semilight" panose="020B0402040204020203" pitchFamily="34" charset="0"/>
                        </a:rPr>
                        <a:t>N/A</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600" kern="0" dirty="0">
                          <a:solidFill>
                            <a:srgbClr val="2A2A2A"/>
                          </a:solidFill>
                          <a:latin typeface="+mn-lt"/>
                          <a:ea typeface="Segoe UI" pitchFamily="34" charset="0"/>
                          <a:cs typeface="Segoe UI Semilight" panose="020B0402040204020203" pitchFamily="34" charset="0"/>
                        </a:rPr>
                        <a:t>$12/$24</a:t>
                      </a:r>
                      <a:endParaRPr lang="en-US" sz="1400" kern="0" dirty="0">
                        <a:solidFill>
                          <a:srgbClr val="2A2A2A"/>
                        </a:solidFill>
                        <a:latin typeface="+mn-lt"/>
                        <a:ea typeface="Segoe UI" pitchFamily="34" charset="0"/>
                        <a:cs typeface="Segoe UI Semilight" panose="020B0402040204020203"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90000"/>
                      </a:schemeClr>
                    </a:solidFill>
                  </a:tcPr>
                </a:tc>
                <a:extLst>
                  <a:ext uri="{0D108BD9-81ED-4DB2-BD59-A6C34878D82A}">
                    <a16:rowId xmlns:a16="http://schemas.microsoft.com/office/drawing/2014/main" val="10008"/>
                  </a:ext>
                </a:extLst>
              </a:tr>
            </a:tbl>
          </a:graphicData>
        </a:graphic>
      </p:graphicFrame>
      <p:sp>
        <p:nvSpPr>
          <p:cNvPr id="6" name="Rectangle 5"/>
          <p:cNvSpPr/>
          <p:nvPr/>
        </p:nvSpPr>
        <p:spPr>
          <a:xfrm>
            <a:off x="457199" y="6129392"/>
            <a:ext cx="11191875" cy="538224"/>
          </a:xfrm>
          <a:prstGeom prst="rect">
            <a:avLst/>
          </a:prstGeom>
        </p:spPr>
        <p:txBody>
          <a:bodyPr wrap="square">
            <a:spAutoFit/>
          </a:bodyPr>
          <a:lstStyle/>
          <a:p>
            <a:pPr marL="0" marR="0" lvl="0" indent="0" defTabSz="896218"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505050"/>
                    </a:gs>
                    <a:gs pos="30000">
                      <a:srgbClr val="505050"/>
                    </a:gs>
                  </a:gsLst>
                  <a:lin ang="5400000" scaled="0"/>
                </a:gradFill>
                <a:effectLst/>
                <a:uLnTx/>
                <a:uFillTx/>
              </a:rPr>
              <a:t>*Dial-out conferencing capabilities may incur additional per minute consumption charges. Customers can disable these features to avoid additional billing.</a:t>
            </a:r>
          </a:p>
          <a:p>
            <a:pPr marL="0" marR="0" lvl="0" indent="0" defTabSz="896218" eaLnBrk="1" fontAlgn="auto" latinLnBrk="0" hangingPunct="1">
              <a:lnSpc>
                <a:spcPct val="90000"/>
              </a:lnSpc>
              <a:spcBef>
                <a:spcPts val="0"/>
              </a:spcBef>
              <a:spcAft>
                <a:spcPts val="588"/>
              </a:spcAft>
              <a:buClrTx/>
              <a:buSzTx/>
              <a:buFontTx/>
              <a:buNone/>
              <a:tabLst/>
              <a:defRPr/>
            </a:pPr>
            <a:r>
              <a:rPr kumimoji="0" lang="en-US" sz="882" b="0" i="0" u="none" strike="noStrike" kern="0" cap="none" spc="0" normalizeH="0" baseline="0" noProof="0" dirty="0">
                <a:ln>
                  <a:noFill/>
                </a:ln>
                <a:gradFill>
                  <a:gsLst>
                    <a:gs pos="2917">
                      <a:srgbClr val="505050"/>
                    </a:gs>
                    <a:gs pos="30000">
                      <a:srgbClr val="505050"/>
                    </a:gs>
                  </a:gsLst>
                  <a:lin ang="5400000" scaled="0"/>
                </a:gradFill>
                <a:effectLst/>
                <a:uLnTx/>
                <a:uFillTx/>
              </a:rPr>
              <a:t>**$24 includes both International and Domestic calling plans. Domestic only calling plans are available for $12. Tax is included in price in the US. Service usage limits exist to manage fraud, abuse, excessive use, and maintain service performance. </a:t>
            </a: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rPr>
              <a:t>Further details about these services can be found in our recently published </a:t>
            </a:r>
            <a:r>
              <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hlinkClick r:id="rId3"/>
              </a:rPr>
              <a:t>Skype for Business Online PSTN Service Use Terms.</a:t>
            </a:r>
            <a:endParaRPr kumimoji="0" lang="en-US" sz="900" b="0" i="0" u="none" strike="noStrike" kern="0" cap="none" spc="0" normalizeH="0" baseline="0" noProof="0" dirty="0">
              <a:ln>
                <a:noFill/>
              </a:ln>
              <a:gradFill>
                <a:gsLst>
                  <a:gs pos="2917">
                    <a:srgbClr val="505050"/>
                  </a:gs>
                  <a:gs pos="30000">
                    <a:srgbClr val="505050"/>
                  </a:gs>
                </a:gsLst>
                <a:lin ang="5400000" scaled="0"/>
              </a:gradFill>
              <a:effectLst/>
              <a:uLnTx/>
              <a:uFillTx/>
            </a:endParaRPr>
          </a:p>
        </p:txBody>
      </p:sp>
      <p:sp>
        <p:nvSpPr>
          <p:cNvPr id="7" name="Title 22"/>
          <p:cNvSpPr>
            <a:spLocks noGrp="1"/>
          </p:cNvSpPr>
          <p:nvPr>
            <p:ph type="title"/>
          </p:nvPr>
        </p:nvSpPr>
        <p:spPr/>
        <p:txBody>
          <a:bodyPr/>
          <a:lstStyle/>
          <a:p>
            <a:pPr defTabSz="914225">
              <a:lnSpc>
                <a:spcPts val="3500"/>
              </a:lnSpc>
              <a:defRPr/>
            </a:pPr>
            <a:r>
              <a:rPr lang="en-US" sz="3137" b="1" kern="900" spc="294" dirty="0">
                <a:solidFill>
                  <a:schemeClr val="accent1"/>
                </a:solidFill>
                <a:latin typeface="+mn-lt"/>
                <a:ea typeface="+mj-ea"/>
                <a:cs typeface="+mj-cs"/>
              </a:rPr>
              <a:t>OFFICE 365 SERVICES PRICING</a:t>
            </a:r>
          </a:p>
        </p:txBody>
      </p:sp>
    </p:spTree>
    <p:extLst>
      <p:ext uri="{BB962C8B-B14F-4D97-AF65-F5344CB8AC3E}">
        <p14:creationId xmlns:p14="http://schemas.microsoft.com/office/powerpoint/2010/main" val="2585930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 name="Title 1"/>
          <p:cNvSpPr txBox="1">
            <a:spLocks/>
          </p:cNvSpPr>
          <p:nvPr/>
        </p:nvSpPr>
        <p:spPr>
          <a:xfrm>
            <a:off x="392299" y="14907"/>
            <a:ext cx="11691995" cy="1066030"/>
          </a:xfrm>
          <a:prstGeom prst="rect">
            <a:avLst/>
          </a:prstGeom>
        </p:spPr>
        <p:txBody>
          <a:bodyPr vert="horz" lIns="137105" tIns="91403" rIns="137105" bIns="137105" rtlCol="0" anchor="t">
            <a:noAutofit/>
          </a:bodyPr>
          <a:lstStyle>
            <a:lvl1pPr marL="0" algn="l" defTabSz="1087869" rtl="0" eaLnBrk="1" latinLnBrk="0" hangingPunct="1">
              <a:lnSpc>
                <a:spcPct val="90000"/>
              </a:lnSpc>
              <a:spcBef>
                <a:spcPct val="0"/>
              </a:spcBef>
              <a:buNone/>
              <a:defRPr lang="en-US" sz="4705"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3775" rtl="0" eaLnBrk="1" fontAlgn="auto" latinLnBrk="0" hangingPunct="1">
              <a:lnSpc>
                <a:spcPts val="3499"/>
              </a:lnSpc>
              <a:spcBef>
                <a:spcPct val="0"/>
              </a:spcBef>
              <a:spcAft>
                <a:spcPts val="0"/>
              </a:spcAft>
              <a:buClrTx/>
              <a:buSzTx/>
              <a:buFontTx/>
              <a:buNone/>
              <a:tabLst/>
              <a:defRPr/>
            </a:pPr>
            <a:endParaRPr kumimoji="0" lang="en-US" sz="3135" b="1" i="0" u="none" strike="noStrike" kern="900" cap="none" spc="294" normalizeH="0" baseline="0" noProof="0" dirty="0">
              <a:ln w="3175">
                <a:noFill/>
              </a:ln>
              <a:solidFill>
                <a:srgbClr val="DC3C00"/>
              </a:solidFill>
              <a:effectLst/>
              <a:uLnTx/>
              <a:uFillTx/>
              <a:latin typeface="Segoe UI"/>
              <a:ea typeface="+mn-ea"/>
              <a:cs typeface="Arial" charset="0"/>
            </a:endParaRPr>
          </a:p>
        </p:txBody>
      </p:sp>
      <p:sp>
        <p:nvSpPr>
          <p:cNvPr id="2" name="Rectangle 1"/>
          <p:cNvSpPr/>
          <p:nvPr/>
        </p:nvSpPr>
        <p:spPr>
          <a:xfrm>
            <a:off x="288682" y="151004"/>
            <a:ext cx="6939592" cy="541174"/>
          </a:xfrm>
          <a:prstGeom prst="rect">
            <a:avLst/>
          </a:prstGeom>
        </p:spPr>
        <p:txBody>
          <a:bodyPr wrap="none">
            <a:spAutoFit/>
          </a:bodyPr>
          <a:lstStyle/>
          <a:p>
            <a:pPr marL="0" marR="0" lvl="0" indent="0" defTabSz="913775" eaLnBrk="1" fontAlgn="auto" latinLnBrk="0" hangingPunct="1">
              <a:lnSpc>
                <a:spcPts val="3499"/>
              </a:lnSpc>
              <a:spcBef>
                <a:spcPct val="0"/>
              </a:spcBef>
              <a:spcAft>
                <a:spcPts val="0"/>
              </a:spcAft>
              <a:buClrTx/>
              <a:buSzTx/>
              <a:buFontTx/>
              <a:buNone/>
              <a:tabLst/>
              <a:defRPr/>
            </a:pPr>
            <a:r>
              <a:rPr kumimoji="0" lang="en-US" sz="3200" b="1" i="0" u="none" strike="noStrike" kern="900" cap="none" spc="294" normalizeH="0" baseline="0" noProof="0" dirty="0">
                <a:ln w="3175">
                  <a:noFill/>
                </a:ln>
                <a:solidFill>
                  <a:srgbClr val="DC3C00"/>
                </a:solidFill>
                <a:effectLst/>
                <a:uLnTx/>
                <a:uFillTx/>
                <a:latin typeface="Segoe UI"/>
                <a:cs typeface="Arial" charset="0"/>
              </a:rPr>
              <a:t>PSTN </a:t>
            </a:r>
            <a:r>
              <a:rPr kumimoji="0" lang="en-US" sz="3200" b="1" i="0" u="none" strike="noStrike" kern="900" cap="none" spc="294" normalizeH="0" baseline="0" noProof="0" dirty="0">
                <a:ln>
                  <a:noFill/>
                </a:ln>
                <a:solidFill>
                  <a:srgbClr val="DC3C00"/>
                </a:solidFill>
                <a:effectLst/>
                <a:uLnTx/>
                <a:uFillTx/>
                <a:latin typeface="Segoe UI"/>
              </a:rPr>
              <a:t>SERVICES AVAILABILITY</a:t>
            </a:r>
            <a:endParaRPr kumimoji="0" lang="en-US" sz="3200" b="1" i="0" u="none" strike="noStrike" kern="900" cap="none" spc="294" normalizeH="0" baseline="0" noProof="0" dirty="0">
              <a:ln w="3175">
                <a:noFill/>
              </a:ln>
              <a:solidFill>
                <a:srgbClr val="DC3C00"/>
              </a:solidFill>
              <a:effectLst/>
              <a:uLnTx/>
              <a:uFillTx/>
              <a:latin typeface="Segoe UI"/>
              <a:cs typeface="Arial" charset="0"/>
            </a:endParaRPr>
          </a:p>
        </p:txBody>
      </p:sp>
      <p:sp>
        <p:nvSpPr>
          <p:cNvPr id="28" name="TextBox 27"/>
          <p:cNvSpPr txBox="1"/>
          <p:nvPr/>
        </p:nvSpPr>
        <p:spPr>
          <a:xfrm>
            <a:off x="308995" y="6124881"/>
            <a:ext cx="9504037" cy="634006"/>
          </a:xfrm>
          <a:prstGeom prst="rect">
            <a:avLst/>
          </a:prstGeom>
          <a:noFill/>
        </p:spPr>
        <p:txBody>
          <a:bodyPr wrap="square" lIns="0" tIns="0" rIns="0" bIns="0" numCol="2"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30000" noProof="0" dirty="0">
                <a:ln>
                  <a:noFill/>
                </a:ln>
                <a:solidFill>
                  <a:sysClr val="windowText" lastClr="000000"/>
                </a:solidFill>
                <a:effectLst/>
                <a:uLnTx/>
                <a:uFillTx/>
              </a:rPr>
              <a:t>1</a:t>
            </a:r>
            <a:r>
              <a:rPr kumimoji="0" lang="en-US" sz="900" b="0" i="0" u="none" strike="noStrike" kern="0" cap="none" spc="0" normalizeH="0" baseline="0" noProof="0" dirty="0">
                <a:ln>
                  <a:noFill/>
                </a:ln>
                <a:solidFill>
                  <a:sysClr val="windowText" lastClr="000000"/>
                </a:solidFill>
                <a:effectLst/>
                <a:uLnTx/>
                <a:uFillTx/>
              </a:rPr>
              <a:t>Conferencing is launching as standalone on 9/1/2016.  Full E5 still unavailable.</a:t>
            </a:r>
            <a:endParaRPr kumimoji="0" lang="en-US" sz="1000" b="0" i="0" u="none" strike="noStrike" kern="0" cap="none" spc="0" normalizeH="0" baseline="3000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ysClr val="windowText" lastClr="000000"/>
                </a:solidFill>
                <a:effectLst/>
                <a:uLnTx/>
                <a:uFillTx/>
              </a:rPr>
              <a:t>2</a:t>
            </a:r>
            <a:r>
              <a:rPr kumimoji="0" lang="en-US" sz="900" b="0" i="0" u="none" strike="noStrike" kern="0" cap="none" spc="0" normalizeH="0" baseline="0" noProof="0" dirty="0">
                <a:ln>
                  <a:noFill/>
                </a:ln>
                <a:solidFill>
                  <a:sysClr val="windowText" lastClr="000000"/>
                </a:solidFill>
                <a:effectLst/>
                <a:uLnTx/>
                <a:uFillTx/>
              </a:rPr>
              <a:t> EA Direct channel unavailable in Brazil &amp; Croatia, CSP Channel unavailable in South Afric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ysClr val="windowText" lastClr="000000"/>
                </a:solidFill>
                <a:effectLst/>
                <a:uLnTx/>
                <a:uFillTx/>
              </a:rPr>
              <a:t>3</a:t>
            </a:r>
            <a:r>
              <a:rPr kumimoji="0" lang="en-US" sz="900" b="0" i="0" u="none" strike="noStrike" kern="0" cap="none" spc="0" normalizeH="0" baseline="0" noProof="0" dirty="0">
                <a:ln>
                  <a:noFill/>
                </a:ln>
                <a:solidFill>
                  <a:sysClr val="windowText" lastClr="000000"/>
                </a:solidFill>
                <a:effectLst/>
                <a:uLnTx/>
                <a:uFillTx/>
              </a:rPr>
              <a:t> No toll free dial-in access numbers in Venezuela, Indonesia &amp; UAE</a:t>
            </a:r>
            <a:endParaRPr kumimoji="0" lang="en-US" sz="900" b="0" i="0" u="none" strike="noStrike" kern="0" cap="none" spc="0" normalizeH="0" baseline="3000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ysClr val="windowText" lastClr="000000"/>
                </a:solidFill>
                <a:effectLst/>
                <a:uLnTx/>
                <a:uFillTx/>
              </a:rPr>
              <a:t>4</a:t>
            </a:r>
            <a:r>
              <a:rPr kumimoji="0" lang="en-US" sz="900" b="0" i="0" u="none" strike="noStrike" kern="0" cap="none" spc="0" normalizeH="0" baseline="0" noProof="0" dirty="0">
                <a:ln>
                  <a:noFill/>
                </a:ln>
                <a:solidFill>
                  <a:sysClr val="windowText" lastClr="000000"/>
                </a:solidFill>
                <a:effectLst/>
                <a:uLnTx/>
                <a:uFillTx/>
              </a:rPr>
              <a:t> Open includes OLP, OV, OVS, and OVS-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30000" noProof="0" dirty="0">
                <a:ln>
                  <a:noFill/>
                </a:ln>
                <a:solidFill>
                  <a:sysClr val="windowText" lastClr="000000"/>
                </a:solidFill>
                <a:effectLst/>
                <a:uLnTx/>
                <a:uFillTx/>
              </a:rPr>
              <a:t>5 </a:t>
            </a:r>
            <a:r>
              <a:rPr kumimoji="0" lang="en-US" sz="900" b="0" i="0" u="none" strike="noStrike" kern="0" cap="none" spc="0" normalizeH="0" baseline="0" noProof="0" dirty="0">
                <a:ln>
                  <a:noFill/>
                </a:ln>
                <a:solidFill>
                  <a:sysClr val="windowText" lastClr="000000"/>
                </a:solidFill>
                <a:effectLst/>
                <a:uLnTx/>
                <a:uFillTx/>
              </a:rPr>
              <a:t>All PSTN services, including E5 Single SKU unavailable in Web Direct on 9/1/16.  PSTN Calling in VL EA/EES Direct/Indirect only.</a:t>
            </a:r>
          </a:p>
        </p:txBody>
      </p:sp>
      <p:sp>
        <p:nvSpPr>
          <p:cNvPr id="31" name="Rectangle 30"/>
          <p:cNvSpPr/>
          <p:nvPr/>
        </p:nvSpPr>
        <p:spPr bwMode="auto">
          <a:xfrm>
            <a:off x="297911" y="1222574"/>
            <a:ext cx="1605161" cy="2996037"/>
          </a:xfrm>
          <a:prstGeom prst="rect">
            <a:avLst/>
          </a:prstGeom>
          <a:solidFill>
            <a:srgbClr val="646467"/>
          </a:solidFill>
          <a:ln w="10000" cap="flat" cmpd="sng" algn="ctr">
            <a:noFill/>
            <a:prstDash val="solid"/>
            <a:headEnd type="none" w="med" len="med"/>
            <a:tailEnd type="none" w="med" len="med"/>
          </a:ln>
          <a:effectLst/>
        </p:spPr>
        <p:txBody>
          <a:bodyPr rot="0" spcFirstLastPara="0" vertOverflow="overflow" horzOverflow="overflow" vert="horz" wrap="square" lIns="91440" tIns="0" rIns="91403" bIns="0" numCol="1" spcCol="0" rtlCol="0" fromWordArt="0" anchor="ctr" anchorCtr="0" forceAA="0" compatLnSpc="1">
            <a:prstTxWarp prst="textNoShape">
              <a:avLst/>
            </a:prstTxWarp>
            <a:noAutofit/>
          </a:bodyPr>
          <a:lstStyle/>
          <a:p>
            <a:pPr marL="0" marR="0" lvl="0" indent="0" algn="l" defTabSz="895777" rtl="0" eaLnBrk="1" fontAlgn="auto" latinLnBrk="0" hangingPunct="1">
              <a:lnSpc>
                <a:spcPct val="90000"/>
              </a:lnSpc>
              <a:spcBef>
                <a:spcPts val="0"/>
              </a:spcBef>
              <a:spcAft>
                <a:spcPts val="588"/>
              </a:spcAft>
              <a:buClrTx/>
              <a:buSzTx/>
              <a:buFontTx/>
              <a:buNone/>
              <a:tabLst/>
              <a:defRPr/>
            </a:pPr>
            <a:r>
              <a:rPr kumimoji="0" lang="en-GB" sz="12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ea typeface="+mn-ea"/>
                <a:cs typeface="+mn-cs"/>
              </a:rPr>
              <a:t>PSTN Conferencing</a:t>
            </a:r>
            <a:r>
              <a:rPr kumimoji="0" lang="en-US" sz="1200" b="0" i="0" u="none" strike="noStrike" kern="0" cap="none" spc="0" normalizeH="0" baseline="30000" noProof="0" dirty="0">
                <a:ln>
                  <a:noFill/>
                </a:ln>
                <a:solidFill>
                  <a:srgbClr val="6E6E73"/>
                </a:solidFill>
                <a:effectLst/>
                <a:uLnTx/>
                <a:uFillTx/>
                <a:latin typeface="Segoe UI"/>
                <a:ea typeface="+mn-ea"/>
                <a:cs typeface="+mn-cs"/>
              </a:rPr>
              <a:t> </a:t>
            </a:r>
            <a:endParaRPr kumimoji="0" lang="en-GB" sz="1200" b="1" i="0" u="none" strike="noStrike" kern="0" cap="none" spc="294" normalizeH="0" baseline="0" noProof="0" dirty="0">
              <a:ln>
                <a:noFill/>
              </a:ln>
              <a:solidFill>
                <a:srgbClr val="FFFFFF"/>
              </a:solidFill>
              <a:effectLst/>
              <a:uLnTx/>
              <a:uFillTx/>
              <a:latin typeface="Segoe UI"/>
              <a:ea typeface="+mn-ea"/>
              <a:cs typeface="+mn-cs"/>
            </a:endParaRPr>
          </a:p>
        </p:txBody>
      </p:sp>
      <p:sp>
        <p:nvSpPr>
          <p:cNvPr id="32" name="Rectangle 31"/>
          <p:cNvSpPr/>
          <p:nvPr/>
        </p:nvSpPr>
        <p:spPr bwMode="auto">
          <a:xfrm>
            <a:off x="4314315" y="1227900"/>
            <a:ext cx="7680461" cy="328177"/>
          </a:xfrm>
          <a:prstGeom prst="rect">
            <a:avLst/>
          </a:prstGeom>
          <a:solidFill>
            <a:srgbClr val="6E6E73">
              <a:lumMod val="75000"/>
              <a:alpha val="90000"/>
            </a:srgbClr>
          </a:solidFill>
          <a:ln w="10795" cap="flat" cmpd="sng" algn="ctr">
            <a:noFill/>
            <a:prstDash val="solid"/>
            <a:headEnd type="none" w="med" len="med"/>
            <a:tailEnd type="none" w="med" len="med"/>
          </a:ln>
          <a:effectLst/>
        </p:spPr>
        <p:txBody>
          <a:bodyPr vert="horz" wrap="square" lIns="182880" tIns="0" rIns="0" bIns="0" numCol="1" rtlCol="0" anchor="ctr" anchorCtr="0" compatLnSpc="1">
            <a:prstTxWarp prst="textNoShape">
              <a:avLst/>
            </a:prstTxWarp>
            <a:noAutofit/>
          </a:bodyPr>
          <a:lstStyle/>
          <a:p>
            <a:pPr marL="0" marR="0" lvl="0" indent="0" algn="ctr" defTabSz="913653" rtl="0" eaLnBrk="1" fontAlgn="base" latinLnBrk="0" hangingPunct="1">
              <a:lnSpc>
                <a:spcPct val="100000"/>
              </a:lnSpc>
              <a:spcBef>
                <a:spcPct val="0"/>
              </a:spcBef>
              <a:spcAft>
                <a:spcPct val="0"/>
              </a:spcAft>
              <a:buClrTx/>
              <a:buSzTx/>
              <a:buFontTx/>
              <a:buNone/>
              <a:tabLst/>
              <a:defRPr/>
            </a:pPr>
            <a:r>
              <a:rPr kumimoji="0" lang="en-US" sz="12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rPr>
              <a:t>Sell-To Countries</a:t>
            </a:r>
            <a:endParaRPr kumimoji="0" lang="en-US" sz="1200" b="1" i="0" u="none" strike="noStrike" kern="0" cap="none" spc="294" normalizeH="0" baseline="30000" noProof="0" dirty="0">
              <a:ln>
                <a:noFill/>
              </a:ln>
              <a:gradFill>
                <a:gsLst>
                  <a:gs pos="87745">
                    <a:srgbClr val="FFFFFF"/>
                  </a:gs>
                  <a:gs pos="71078">
                    <a:srgbClr val="FFFFFF"/>
                  </a:gs>
                </a:gsLst>
                <a:lin ang="2700000" scaled="1"/>
              </a:gradFill>
              <a:effectLst/>
              <a:uLnTx/>
              <a:uFillTx/>
              <a:latin typeface="Segoe UI"/>
              <a:ea typeface="+mn-ea"/>
              <a:cs typeface="+mn-cs"/>
            </a:endParaRPr>
          </a:p>
        </p:txBody>
      </p:sp>
      <p:sp>
        <p:nvSpPr>
          <p:cNvPr id="33" name="Rectangle 32"/>
          <p:cNvSpPr/>
          <p:nvPr/>
        </p:nvSpPr>
        <p:spPr bwMode="auto">
          <a:xfrm>
            <a:off x="1880798" y="1890274"/>
            <a:ext cx="1401310" cy="1876996"/>
          </a:xfrm>
          <a:prstGeom prst="rect">
            <a:avLst/>
          </a:prstGeom>
          <a:noFill/>
          <a:ln w="10795" cap="flat" cmpd="sng" algn="ctr">
            <a:noFill/>
            <a:prstDash val="solid"/>
            <a:headEnd type="none" w="med" len="med"/>
            <a:tailEnd type="none" w="med" len="med"/>
          </a:ln>
          <a:effectLst/>
        </p:spPr>
        <p:txBody>
          <a:bodyPr vert="horz" wrap="none" lIns="182880" tIns="45701" rIns="0" bIns="45701" numCol="1" rtlCol="0" anchor="ctr" anchorCtr="0" compatLnSpc="1">
            <a:prstTxWarp prst="textNoShape">
              <a:avLst/>
            </a:prstTxWarp>
          </a:bodyPr>
          <a:lstStyle/>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8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rPr>
              <a:t>EA Direct</a:t>
            </a: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8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rPr>
              <a:t>EA Indirect</a:t>
            </a: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8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rPr>
              <a:t>MOSP </a:t>
            </a:r>
          </a:p>
          <a:p>
            <a:pPr marL="0" marR="0" lvl="0" indent="0" defTabSz="913653" eaLnBrk="1" fontAlgn="base" latinLnBrk="0" hangingPunct="1">
              <a:lnSpc>
                <a:spcPct val="100000"/>
              </a:lnSpc>
              <a:spcBef>
                <a:spcPct val="0"/>
              </a:spcBef>
              <a:spcAft>
                <a:spcPct val="0"/>
              </a:spcAft>
              <a:buClrTx/>
              <a:buSzTx/>
              <a:buFontTx/>
              <a:buNone/>
              <a:tabLst/>
              <a:defRPr/>
            </a:pPr>
            <a:r>
              <a:rPr kumimoji="0" lang="en-US" sz="18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CSP</a:t>
            </a:r>
            <a:endParaRPr kumimoji="0" lang="en-US" sz="1400" b="0" i="0" u="none" strike="noStrike" kern="900" cap="none" spc="0" normalizeH="0" baseline="0" noProof="0" dirty="0">
              <a:ln w="3175">
                <a:noFill/>
              </a:ln>
              <a:solidFill>
                <a:sysClr val="windowText" lastClr="000000"/>
              </a:solidFill>
              <a:effectLst/>
              <a:uLnTx/>
              <a:uFillTx/>
              <a:cs typeface="Segoe UI" panose="020B0502040204020203" pitchFamily="34" charset="0"/>
            </a:endParaRP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8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EES/School</a:t>
            </a:r>
          </a:p>
          <a:p>
            <a:pPr marL="0" marR="0" lvl="0" indent="0" defTabSz="913653" eaLnBrk="1" fontAlgn="base" latinLnBrk="0" hangingPunct="1">
              <a:lnSpc>
                <a:spcPct val="100000"/>
              </a:lnSpc>
              <a:spcBef>
                <a:spcPct val="0"/>
              </a:spcBef>
              <a:spcAft>
                <a:spcPct val="0"/>
              </a:spcAft>
              <a:buClrTx/>
              <a:buSzTx/>
              <a:buFontTx/>
              <a:buNone/>
              <a:tabLst/>
              <a:defRPr/>
            </a:pPr>
            <a:r>
              <a:rPr kumimoji="0" lang="en-US" sz="18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MPSA</a:t>
            </a:r>
          </a:p>
          <a:p>
            <a:pPr marL="0" marR="0" lvl="0" indent="0" defTabSz="913653" eaLnBrk="1" fontAlgn="base" latinLnBrk="0" hangingPunct="1">
              <a:lnSpc>
                <a:spcPct val="100000"/>
              </a:lnSpc>
              <a:spcBef>
                <a:spcPct val="0"/>
              </a:spcBef>
              <a:spcAft>
                <a:spcPct val="0"/>
              </a:spcAft>
              <a:buClrTx/>
              <a:buSzTx/>
              <a:buFontTx/>
              <a:buNone/>
              <a:tabLst/>
              <a:defRPr/>
            </a:pPr>
            <a:r>
              <a:rPr kumimoji="0" lang="en-US" sz="18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Open</a:t>
            </a:r>
            <a:r>
              <a:rPr kumimoji="0" lang="en-US" sz="1200" b="0" i="0" u="none" strike="noStrike" kern="900" cap="none" spc="0" normalizeH="0" baseline="30000" noProof="0" dirty="0">
                <a:ln w="3175">
                  <a:noFill/>
                </a:ln>
                <a:solidFill>
                  <a:schemeClr val="bg2">
                    <a:lumMod val="50000"/>
                  </a:schemeClr>
                </a:solidFill>
                <a:effectLst/>
                <a:uLnTx/>
                <a:uFillTx/>
                <a:cs typeface="Segoe UI" panose="020B0502040204020203" pitchFamily="34" charset="0"/>
              </a:rPr>
              <a:t>4</a:t>
            </a:r>
          </a:p>
        </p:txBody>
      </p:sp>
      <p:sp>
        <p:nvSpPr>
          <p:cNvPr id="35" name="Rectangle 34"/>
          <p:cNvSpPr/>
          <p:nvPr/>
        </p:nvSpPr>
        <p:spPr bwMode="auto">
          <a:xfrm>
            <a:off x="2001193" y="1231219"/>
            <a:ext cx="2223604" cy="314818"/>
          </a:xfrm>
          <a:prstGeom prst="rect">
            <a:avLst/>
          </a:prstGeom>
          <a:solidFill>
            <a:srgbClr val="6E6E73">
              <a:lumMod val="75000"/>
              <a:alpha val="90000"/>
            </a:srgbClr>
          </a:solidFill>
          <a:ln w="10795" cap="flat" cmpd="sng" algn="ctr">
            <a:noFill/>
            <a:prstDash val="solid"/>
            <a:headEnd type="none" w="med" len="med"/>
            <a:tailEnd type="none" w="med" len="med"/>
          </a:ln>
          <a:effectLst/>
        </p:spPr>
        <p:txBody>
          <a:bodyPr vert="horz" wrap="square" lIns="91440" tIns="0" rIns="0" bIns="0" numCol="1" rtlCol="0" anchor="ctr" anchorCtr="0" compatLnSpc="1">
            <a:prstTxWarp prst="textNoShape">
              <a:avLst/>
            </a:prstTxWarp>
            <a:noAutofit/>
          </a:bodyPr>
          <a:lstStyle/>
          <a:p>
            <a:pPr marL="0" marR="0" lvl="0" indent="0" algn="ctr" defTabSz="913653" rtl="0" eaLnBrk="1" fontAlgn="base" latinLnBrk="0" hangingPunct="1">
              <a:lnSpc>
                <a:spcPct val="100000"/>
              </a:lnSpc>
              <a:spcBef>
                <a:spcPct val="0"/>
              </a:spcBef>
              <a:spcAft>
                <a:spcPct val="0"/>
              </a:spcAft>
              <a:buClrTx/>
              <a:buSzTx/>
              <a:buFontTx/>
              <a:buNone/>
              <a:tabLst/>
              <a:defRPr/>
            </a:pPr>
            <a:r>
              <a:rPr kumimoji="0" lang="en-US" sz="12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ea typeface="+mn-ea"/>
                <a:cs typeface="+mn-cs"/>
              </a:rPr>
              <a:t>Licensing Platform</a:t>
            </a:r>
          </a:p>
        </p:txBody>
      </p:sp>
      <p:sp>
        <p:nvSpPr>
          <p:cNvPr id="36" name="Rectangle 35"/>
          <p:cNvSpPr/>
          <p:nvPr/>
        </p:nvSpPr>
        <p:spPr bwMode="auto">
          <a:xfrm>
            <a:off x="297911" y="5348981"/>
            <a:ext cx="1598807" cy="598813"/>
          </a:xfrm>
          <a:prstGeom prst="rect">
            <a:avLst/>
          </a:prstGeom>
          <a:solidFill>
            <a:srgbClr val="646467"/>
          </a:solidFill>
          <a:ln w="10000" cap="flat" cmpd="sng" algn="ctr">
            <a:noFill/>
            <a:prstDash val="solid"/>
            <a:headEnd type="none" w="med" len="med"/>
            <a:tailEnd type="none" w="med" len="med"/>
          </a:ln>
          <a:effectLst/>
        </p:spPr>
        <p:txBody>
          <a:bodyPr rot="0" spcFirstLastPara="0" vertOverflow="overflow" horzOverflow="overflow" vert="horz" wrap="square" lIns="91440" tIns="0" rIns="91403" bIns="0" numCol="1" spcCol="0" rtlCol="0" fromWordArt="0" anchor="ctr" anchorCtr="0" forceAA="0" compatLnSpc="1">
            <a:prstTxWarp prst="textNoShape">
              <a:avLst/>
            </a:prstTxWarp>
            <a:noAutofit/>
          </a:bodyPr>
          <a:lstStyle/>
          <a:p>
            <a:pPr marL="0" marR="0" lvl="0" indent="0" defTabSz="895777" eaLnBrk="1" fontAlgn="auto" latinLnBrk="0" hangingPunct="1">
              <a:lnSpc>
                <a:spcPct val="90000"/>
              </a:lnSpc>
              <a:spcBef>
                <a:spcPts val="0"/>
              </a:spcBef>
              <a:spcAft>
                <a:spcPts val="588"/>
              </a:spcAft>
              <a:buClrTx/>
              <a:buSzTx/>
              <a:buFontTx/>
              <a:buNone/>
              <a:tabLst/>
              <a:defRPr/>
            </a:pPr>
            <a:r>
              <a:rPr kumimoji="0" lang="en-GB" sz="12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rPr>
              <a:t>PSTN Consumption</a:t>
            </a:r>
          </a:p>
        </p:txBody>
      </p:sp>
      <p:sp>
        <p:nvSpPr>
          <p:cNvPr id="37" name="Rectangle 36"/>
          <p:cNvSpPr/>
          <p:nvPr/>
        </p:nvSpPr>
        <p:spPr bwMode="auto">
          <a:xfrm>
            <a:off x="4592826" y="5382350"/>
            <a:ext cx="4519280" cy="527502"/>
          </a:xfrm>
          <a:prstGeom prst="rect">
            <a:avLst/>
          </a:prstGeom>
          <a:no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Available in all PSTN Conferencing Sell-To countries except: Australia, Brazil, Croatia, Russia, South Korea, Taiwan</a:t>
            </a:r>
          </a:p>
        </p:txBody>
      </p:sp>
      <p:sp>
        <p:nvSpPr>
          <p:cNvPr id="43" name="Rectangle 42"/>
          <p:cNvSpPr/>
          <p:nvPr/>
        </p:nvSpPr>
        <p:spPr bwMode="auto">
          <a:xfrm>
            <a:off x="1877437" y="5307306"/>
            <a:ext cx="1105247" cy="867803"/>
          </a:xfrm>
          <a:prstGeom prst="rect">
            <a:avLst/>
          </a:prstGeom>
          <a:noFill/>
          <a:ln w="10795" cap="flat" cmpd="sng" algn="ctr">
            <a:noFill/>
            <a:prstDash val="solid"/>
            <a:headEnd type="none" w="med" len="med"/>
            <a:tailEnd type="none" w="med" len="med"/>
          </a:ln>
          <a:effectLst/>
        </p:spPr>
        <p:txBody>
          <a:bodyPr vert="horz" wrap="none" lIns="182880" tIns="45701" rIns="0" bIns="45701" numCol="1" rtlCol="0" anchor="ctr" anchorCtr="0" compatLnSpc="1">
            <a:prstTxWarp prst="textNoShape">
              <a:avLst/>
            </a:prstTxWarp>
          </a:bodyPr>
          <a:lstStyle/>
          <a:p>
            <a:pPr marL="0" marR="0" lvl="0" indent="0" defTabSz="913653" eaLnBrk="1" fontAlgn="base" latinLnBrk="0" hangingPunct="1">
              <a:lnSpc>
                <a:spcPct val="100000"/>
              </a:lnSpc>
              <a:spcBef>
                <a:spcPct val="0"/>
              </a:spcBef>
              <a:spcAft>
                <a:spcPct val="0"/>
              </a:spcAft>
              <a:buClrTx/>
              <a:buSzTx/>
              <a:buFontTx/>
              <a:buNone/>
              <a:tabLst/>
              <a:defRPr/>
            </a:pPr>
            <a:r>
              <a:rPr kumimoji="0" lang="en-US" sz="16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EA Direct      MOSP</a:t>
            </a:r>
          </a:p>
          <a:p>
            <a:pPr marL="0" marR="0" lvl="0" indent="0" defTabSz="913653" eaLnBrk="1" fontAlgn="base" latinLnBrk="0" hangingPunct="1">
              <a:lnSpc>
                <a:spcPct val="100000"/>
              </a:lnSpc>
              <a:spcBef>
                <a:spcPct val="0"/>
              </a:spcBef>
              <a:spcAft>
                <a:spcPct val="0"/>
              </a:spcAft>
              <a:buClrTx/>
              <a:buSzTx/>
              <a:buFontTx/>
              <a:buNone/>
              <a:tabLst/>
              <a:defRPr/>
            </a:pPr>
            <a:r>
              <a:rPr kumimoji="0" lang="en-US" sz="16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EA Indirect   EES/School</a:t>
            </a:r>
          </a:p>
          <a:p>
            <a:pPr marL="0" marR="0" lvl="0" indent="0" defTabSz="913653" eaLnBrk="1" fontAlgn="base" latinLnBrk="0" hangingPunct="1">
              <a:lnSpc>
                <a:spcPct val="100000"/>
              </a:lnSpc>
              <a:spcBef>
                <a:spcPct val="0"/>
              </a:spcBef>
              <a:spcAft>
                <a:spcPct val="0"/>
              </a:spcAft>
              <a:buClrTx/>
              <a:buSzTx/>
              <a:buFontTx/>
              <a:buNone/>
              <a:tabLst/>
              <a:defRPr/>
            </a:pPr>
            <a:endParaRPr kumimoji="0" lang="en-US" sz="16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p:txBody>
      </p:sp>
      <p:sp>
        <p:nvSpPr>
          <p:cNvPr id="44" name="Rectangle 43"/>
          <p:cNvSpPr/>
          <p:nvPr/>
        </p:nvSpPr>
        <p:spPr bwMode="auto">
          <a:xfrm>
            <a:off x="297911" y="4653363"/>
            <a:ext cx="1588406" cy="570555"/>
          </a:xfrm>
          <a:prstGeom prst="rect">
            <a:avLst/>
          </a:prstGeom>
          <a:solidFill>
            <a:srgbClr val="646467"/>
          </a:solidFill>
          <a:ln w="10000" cap="flat" cmpd="sng" algn="ctr">
            <a:noFill/>
            <a:prstDash val="solid"/>
            <a:headEnd type="none" w="med" len="med"/>
            <a:tailEnd type="none" w="med" len="med"/>
          </a:ln>
          <a:effectLst/>
        </p:spPr>
        <p:txBody>
          <a:bodyPr rot="0" spcFirstLastPara="0" vertOverflow="overflow" horzOverflow="overflow" vert="horz" wrap="square" lIns="91440" tIns="0" rIns="91403" bIns="0" numCol="1" spcCol="0" rtlCol="0" fromWordArt="0" anchor="ctr" anchorCtr="0" forceAA="0" compatLnSpc="1">
            <a:prstTxWarp prst="textNoShape">
              <a:avLst/>
            </a:prstTxWarp>
            <a:noAutofit/>
          </a:bodyPr>
          <a:lstStyle/>
          <a:p>
            <a:pPr marL="0" marR="0" lvl="0" indent="0" defTabSz="895777" eaLnBrk="1" fontAlgn="auto" latinLnBrk="0" hangingPunct="1">
              <a:lnSpc>
                <a:spcPct val="90000"/>
              </a:lnSpc>
              <a:spcBef>
                <a:spcPts val="0"/>
              </a:spcBef>
              <a:spcAft>
                <a:spcPts val="588"/>
              </a:spcAft>
              <a:buClrTx/>
              <a:buSzTx/>
              <a:buFontTx/>
              <a:buNone/>
              <a:tabLst/>
              <a:defRPr/>
            </a:pPr>
            <a:r>
              <a:rPr kumimoji="0" lang="en-US" sz="12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rPr>
              <a:t>PSTN</a:t>
            </a:r>
            <a:br>
              <a:rPr kumimoji="0" lang="en-US" sz="12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rPr>
            </a:br>
            <a:r>
              <a:rPr kumimoji="0" lang="en-US" sz="12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rPr>
              <a:t>Calling</a:t>
            </a:r>
          </a:p>
        </p:txBody>
      </p:sp>
      <p:sp>
        <p:nvSpPr>
          <p:cNvPr id="45" name="Rectangle 44"/>
          <p:cNvSpPr/>
          <p:nvPr/>
        </p:nvSpPr>
        <p:spPr bwMode="auto">
          <a:xfrm>
            <a:off x="1877438" y="4546845"/>
            <a:ext cx="2391892" cy="733024"/>
          </a:xfrm>
          <a:prstGeom prst="rect">
            <a:avLst/>
          </a:prstGeom>
          <a:noFill/>
          <a:ln w="10795" cap="flat" cmpd="sng" algn="ctr">
            <a:noFill/>
            <a:prstDash val="solid"/>
            <a:headEnd type="none" w="med" len="med"/>
            <a:tailEnd type="none" w="med" len="med"/>
          </a:ln>
          <a:effectLst/>
        </p:spPr>
        <p:txBody>
          <a:bodyPr vert="horz" wrap="square" lIns="182880" tIns="45701" rIns="0" bIns="45701" numCol="2" rtlCol="0" anchor="ctr" anchorCtr="0" compatLnSpc="1">
            <a:prstTxWarp prst="textNoShape">
              <a:avLst/>
            </a:prstTxWarp>
          </a:bodyPr>
          <a:lstStyle/>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4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rPr>
              <a:t>EA Direct                 </a:t>
            </a: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4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rPr>
              <a:t>EA Indirect</a:t>
            </a: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4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rPr>
              <a:t>MOSP</a:t>
            </a:r>
          </a:p>
        </p:txBody>
      </p:sp>
      <p:sp>
        <p:nvSpPr>
          <p:cNvPr id="50" name="TextBox 49"/>
          <p:cNvSpPr txBox="1"/>
          <p:nvPr/>
        </p:nvSpPr>
        <p:spPr>
          <a:xfrm>
            <a:off x="2945453" y="4451041"/>
            <a:ext cx="1479689" cy="941796"/>
          </a:xfrm>
          <a:prstGeom prst="rect">
            <a:avLst/>
          </a:prstGeom>
          <a:noFill/>
        </p:spPr>
        <p:txBody>
          <a:bodyPr wrap="square" lIns="182880" tIns="146304" rIns="182880" bIns="146304" rtlCol="0">
            <a:spAutoFit/>
          </a:bodyPr>
          <a:lstStyle/>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4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rPr>
              <a:t>CSP</a:t>
            </a: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4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EES/School</a:t>
            </a:r>
            <a:endParaRPr kumimoji="0" lang="en-US" sz="1400" b="0" i="0" u="none" strike="noStrike" kern="900" cap="none" spc="0" normalizeH="0" baseline="0" noProof="0" dirty="0">
              <a:ln w="3175">
                <a:noFill/>
              </a:ln>
              <a:solidFill>
                <a:schemeClr val="bg2">
                  <a:lumMod val="50000"/>
                </a:schemeClr>
              </a:solidFill>
              <a:effectLst/>
              <a:uLnTx/>
              <a:uFillTx/>
              <a:ea typeface="+mn-ea"/>
              <a:cs typeface="Segoe UI" panose="020B0502040204020203" pitchFamily="34" charset="0"/>
            </a:endParaRP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400" b="0" i="0" u="none" strike="noStrike" kern="900" cap="none" spc="0" normalizeH="0" baseline="0" noProof="0" dirty="0">
                <a:ln w="3175">
                  <a:noFill/>
                </a:ln>
                <a:solidFill>
                  <a:schemeClr val="bg2">
                    <a:lumMod val="50000"/>
                  </a:schemeClr>
                </a:solidFill>
                <a:effectLst/>
                <a:uLnTx/>
                <a:uFillTx/>
                <a:cs typeface="Segoe UI" panose="020B0502040204020203" pitchFamily="34" charset="0"/>
              </a:rPr>
              <a:t>MPSA</a:t>
            </a:r>
          </a:p>
        </p:txBody>
      </p:sp>
      <p:sp>
        <p:nvSpPr>
          <p:cNvPr id="54" name="Rectangle 53"/>
          <p:cNvSpPr/>
          <p:nvPr/>
        </p:nvSpPr>
        <p:spPr bwMode="auto">
          <a:xfrm>
            <a:off x="4592826" y="4507798"/>
            <a:ext cx="1215743" cy="858969"/>
          </a:xfrm>
          <a:prstGeom prst="rect">
            <a:avLst/>
          </a:prstGeom>
          <a:noFill/>
          <a:ln w="10795" cap="flat" cmpd="sng" algn="ctr">
            <a:noFill/>
            <a:prstDash val="soli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200" b="0" i="0" u="none" strike="noStrike" kern="900" cap="none" spc="0" normalizeH="0" baseline="0" noProof="0" dirty="0">
                <a:ln w="3175">
                  <a:noFill/>
                </a:ln>
                <a:solidFill>
                  <a:schemeClr val="bg2">
                    <a:lumMod val="50000"/>
                  </a:schemeClr>
                </a:solidFill>
                <a:effectLst/>
                <a:uLnTx/>
                <a:uFillTx/>
                <a:latin typeface="Segoe UI"/>
                <a:ea typeface="+mn-ea"/>
                <a:cs typeface="Segoe UI" panose="020B0502040204020203" pitchFamily="34" charset="0"/>
              </a:rPr>
              <a:t>United States</a:t>
            </a: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200" b="0" i="0" u="none" strike="noStrike" kern="900" cap="none" spc="0" normalizeH="0" baseline="0" noProof="0" dirty="0">
                <a:ln w="3175">
                  <a:noFill/>
                </a:ln>
                <a:solidFill>
                  <a:schemeClr val="bg2">
                    <a:lumMod val="50000"/>
                  </a:schemeClr>
                </a:solidFill>
                <a:effectLst/>
                <a:uLnTx/>
                <a:uFillTx/>
                <a:latin typeface="Segoe UI"/>
                <a:ea typeface="+mn-ea"/>
                <a:cs typeface="Segoe UI" panose="020B0502040204020203" pitchFamily="34" charset="0"/>
              </a:rPr>
              <a:t>United Kingdom</a:t>
            </a:r>
          </a:p>
          <a:p>
            <a:pPr marL="0" marR="0" lvl="0" indent="0" algn="l" defTabSz="913653" rtl="0" eaLnBrk="1" fontAlgn="base" latinLnBrk="0" hangingPunct="1">
              <a:lnSpc>
                <a:spcPct val="100000"/>
              </a:lnSpc>
              <a:spcBef>
                <a:spcPct val="0"/>
              </a:spcBef>
              <a:spcAft>
                <a:spcPct val="0"/>
              </a:spcAft>
              <a:buClrTx/>
              <a:buSzTx/>
              <a:buFontTx/>
              <a:buNone/>
              <a:tabLst/>
              <a:defRPr/>
            </a:pPr>
            <a:r>
              <a:rPr kumimoji="0" lang="en-US" sz="1200" b="0" i="0" u="none" strike="noStrike" kern="900" cap="none" spc="0" normalizeH="0" baseline="0" noProof="0" dirty="0">
                <a:ln w="3175">
                  <a:noFill/>
                </a:ln>
                <a:solidFill>
                  <a:schemeClr val="bg2">
                    <a:lumMod val="50000"/>
                  </a:schemeClr>
                </a:solidFill>
                <a:effectLst/>
                <a:uLnTx/>
                <a:uFillTx/>
                <a:latin typeface="Segoe UI"/>
                <a:ea typeface="+mn-ea"/>
                <a:cs typeface="Segoe UI" panose="020B0502040204020203" pitchFamily="34" charset="0"/>
              </a:rPr>
              <a:t>Puerto </a:t>
            </a:r>
            <a:r>
              <a:rPr kumimoji="0" lang="en-US" sz="12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Rico</a:t>
            </a:r>
            <a:r>
              <a:rPr kumimoji="0" lang="en-US" sz="12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5</a:t>
            </a:r>
            <a:endParaRPr kumimoji="0" lang="en-US" sz="12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p:txBody>
      </p:sp>
      <p:cxnSp>
        <p:nvCxnSpPr>
          <p:cNvPr id="56" name="Straight Connector 55"/>
          <p:cNvCxnSpPr>
            <a:cxnSpLocks/>
          </p:cNvCxnSpPr>
          <p:nvPr/>
        </p:nvCxnSpPr>
        <p:spPr>
          <a:xfrm>
            <a:off x="288682" y="4546845"/>
            <a:ext cx="11652306" cy="0"/>
          </a:xfrm>
          <a:prstGeom prst="line">
            <a:avLst/>
          </a:prstGeom>
          <a:ln>
            <a:solidFill>
              <a:schemeClr val="bg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308995" y="5289014"/>
            <a:ext cx="9504037" cy="0"/>
          </a:xfrm>
          <a:prstGeom prst="line">
            <a:avLst/>
          </a:prstGeom>
          <a:ln>
            <a:solidFill>
              <a:schemeClr val="bg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a:off x="4278689" y="786067"/>
            <a:ext cx="1" cy="5192893"/>
          </a:xfrm>
          <a:prstGeom prst="line">
            <a:avLst/>
          </a:prstGeom>
          <a:ln>
            <a:solidFill>
              <a:schemeClr val="bg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bwMode="auto">
          <a:xfrm>
            <a:off x="299258" y="733407"/>
            <a:ext cx="11695518" cy="406188"/>
          </a:xfrm>
          <a:prstGeom prst="rect">
            <a:avLst/>
          </a:prstGeom>
          <a:solidFill>
            <a:srgbClr val="DC3C00"/>
          </a:solidFill>
          <a:ln w="10795" cap="flat" cmpd="sng" algn="ctr">
            <a:noFill/>
            <a:prstDash val="solid"/>
            <a:headEnd type="none" w="med" len="med"/>
            <a:tailEnd type="none" w="med" len="med"/>
          </a:ln>
          <a:effectLst/>
        </p:spPr>
        <p:txBody>
          <a:bodyPr vert="horz" wrap="square" lIns="182880" tIns="0" rIns="0" bIns="0" numCol="1" rtlCol="0" anchor="ctr" anchorCtr="0" compatLnSpc="1">
            <a:prstTxWarp prst="textNoShape">
              <a:avLst/>
            </a:prstTxWarp>
            <a:noAutofit/>
          </a:bodyPr>
          <a:lstStyle/>
          <a:p>
            <a:pPr marL="0" marR="0" lvl="0" indent="0" defTabSz="913653" eaLnBrk="1" fontAlgn="base" latinLnBrk="0" hangingPunct="1">
              <a:lnSpc>
                <a:spcPct val="100000"/>
              </a:lnSpc>
              <a:spcBef>
                <a:spcPct val="0"/>
              </a:spcBef>
              <a:spcAft>
                <a:spcPct val="0"/>
              </a:spcAft>
              <a:buClrTx/>
              <a:buSzTx/>
              <a:buFontTx/>
              <a:buNone/>
              <a:tabLst/>
              <a:defRPr/>
            </a:pPr>
            <a:r>
              <a:rPr kumimoji="0" lang="en-US" sz="16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ea typeface="+mn-ea"/>
                <a:cs typeface="+mn-cs"/>
              </a:rPr>
              <a:t>Available for Commercial, EDU</a:t>
            </a:r>
            <a:r>
              <a:rPr kumimoji="0" lang="en-US" sz="1600" b="1" i="0" u="none" strike="noStrike" kern="0" cap="none" spc="294" normalizeH="0" baseline="0" noProof="0">
                <a:ln>
                  <a:noFill/>
                </a:ln>
                <a:gradFill>
                  <a:gsLst>
                    <a:gs pos="87745">
                      <a:srgbClr val="FFFFFF"/>
                    </a:gs>
                    <a:gs pos="71078">
                      <a:srgbClr val="FFFFFF"/>
                    </a:gs>
                  </a:gsLst>
                  <a:lin ang="2700000" scaled="1"/>
                </a:gradFill>
                <a:effectLst/>
                <a:uLnTx/>
                <a:uFillTx/>
                <a:latin typeface="Segoe UI"/>
                <a:ea typeface="+mn-ea"/>
                <a:cs typeface="+mn-cs"/>
              </a:rPr>
              <a:t>, </a:t>
            </a:r>
            <a:r>
              <a:rPr kumimoji="0" lang="en-US" sz="1600" b="1" i="0" u="none" strike="noStrike" kern="0" cap="none" spc="294" normalizeH="0" baseline="0" noProof="0">
                <a:ln>
                  <a:noFill/>
                </a:ln>
                <a:gradFill>
                  <a:gsLst>
                    <a:gs pos="87745">
                      <a:srgbClr val="FFFFFF"/>
                    </a:gs>
                    <a:gs pos="71078">
                      <a:srgbClr val="FFFFFF"/>
                    </a:gs>
                  </a:gsLst>
                  <a:lin ang="2700000" scaled="1"/>
                </a:gradFill>
                <a:effectLst/>
                <a:uLnTx/>
                <a:uFillTx/>
                <a:latin typeface="Segoe UI"/>
              </a:rPr>
              <a:t>Government</a:t>
            </a:r>
            <a:r>
              <a:rPr kumimoji="0" lang="en-US" sz="1600" b="1" i="0" u="none" strike="noStrike" kern="0" cap="none" spc="294" normalizeH="0" baseline="30000" noProof="0">
                <a:ln>
                  <a:noFill/>
                </a:ln>
                <a:gradFill>
                  <a:gsLst>
                    <a:gs pos="87745">
                      <a:srgbClr val="FFFFFF"/>
                    </a:gs>
                    <a:gs pos="71078">
                      <a:srgbClr val="FFFFFF"/>
                    </a:gs>
                  </a:gsLst>
                  <a:lin ang="2700000" scaled="1"/>
                </a:gradFill>
                <a:effectLst/>
                <a:uLnTx/>
                <a:uFillTx/>
                <a:latin typeface="Segoe UI"/>
              </a:rPr>
              <a:t>1</a:t>
            </a:r>
            <a:r>
              <a:rPr kumimoji="0" lang="en-US" sz="1600" b="1" i="0" u="none" strike="noStrike" kern="0" cap="none" spc="294" normalizeH="0" baseline="0" noProof="0">
                <a:ln>
                  <a:noFill/>
                </a:ln>
                <a:gradFill>
                  <a:gsLst>
                    <a:gs pos="87745">
                      <a:srgbClr val="FFFFFF"/>
                    </a:gs>
                    <a:gs pos="71078">
                      <a:srgbClr val="FFFFFF"/>
                    </a:gs>
                  </a:gsLst>
                  <a:lin ang="2700000" scaled="1"/>
                </a:gradFill>
                <a:effectLst/>
                <a:uLnTx/>
                <a:uFillTx/>
                <a:latin typeface="Segoe UI"/>
                <a:ea typeface="+mn-ea"/>
                <a:cs typeface="+mn-cs"/>
              </a:rPr>
              <a:t>, </a:t>
            </a:r>
            <a:r>
              <a:rPr kumimoji="0" lang="en-US" sz="16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ea typeface="+mn-ea"/>
                <a:cs typeface="+mn-cs"/>
              </a:rPr>
              <a:t>and Non-Profit </a:t>
            </a:r>
            <a:endParaRPr kumimoji="0" lang="en-US" sz="16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endParaRPr>
          </a:p>
        </p:txBody>
      </p:sp>
      <p:sp>
        <p:nvSpPr>
          <p:cNvPr id="60" name="Rectangle 59"/>
          <p:cNvSpPr/>
          <p:nvPr/>
        </p:nvSpPr>
        <p:spPr>
          <a:xfrm>
            <a:off x="9977178" y="2314399"/>
            <a:ext cx="1309160" cy="812386"/>
          </a:xfrm>
          <a:prstGeom prst="rect">
            <a:avLst/>
          </a:prstGeom>
          <a:noFill/>
        </p:spPr>
        <p:txBody>
          <a:bodyPr wrap="square" lIns="0" tIns="0" rIns="0" bIns="0" numCol="1" rtlCol="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100" b="0" i="0" u="none" strike="noStrike" kern="900" cap="none" spc="0" normalizeH="0" baseline="0" noProof="0" dirty="0">
              <a:ln w="3175">
                <a:noFill/>
              </a:ln>
              <a:solidFill>
                <a:schemeClr val="bg2">
                  <a:lumMod val="75000"/>
                </a:schemeClr>
              </a:solidFill>
              <a:effectLst/>
              <a:uLnTx/>
              <a:uFillTx/>
              <a:latin typeface="Segoe UI"/>
              <a:cs typeface="Segoe UI" panose="020B0502040204020203" pitchFamily="34" charset="0"/>
            </a:endParaRPr>
          </a:p>
        </p:txBody>
      </p:sp>
      <p:cxnSp>
        <p:nvCxnSpPr>
          <p:cNvPr id="61" name="Straight Connector 60"/>
          <p:cNvCxnSpPr>
            <a:cxnSpLocks/>
          </p:cNvCxnSpPr>
          <p:nvPr/>
        </p:nvCxnSpPr>
        <p:spPr>
          <a:xfrm flipV="1">
            <a:off x="282009" y="5978960"/>
            <a:ext cx="9541211" cy="1996"/>
          </a:xfrm>
          <a:prstGeom prst="line">
            <a:avLst/>
          </a:prstGeom>
          <a:ln>
            <a:solidFill>
              <a:schemeClr val="bg2">
                <a:lumMod val="20000"/>
                <a:lumOff val="8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bwMode="auto">
          <a:xfrm>
            <a:off x="4493004" y="4141147"/>
            <a:ext cx="5596015" cy="423011"/>
          </a:xfrm>
          <a:prstGeom prst="rect">
            <a:avLst/>
          </a:prstGeom>
          <a:noFill/>
          <a:ln w="1079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9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For Provisioning and Dial In Availability by Market visit the </a:t>
            </a:r>
            <a:r>
              <a:rPr kumimoji="0" lang="en-US" sz="9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hlinkClick r:id="rId3"/>
              </a:rPr>
              <a:t>PSTN Conferencing Support page</a:t>
            </a:r>
            <a:endParaRPr kumimoji="0" lang="en-US" sz="9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a:p>
            <a:pPr marL="0" marR="0" lvl="0" indent="0" defTabSz="914400" eaLnBrk="1" fontAlgn="auto" latinLnBrk="0" hangingPunct="1">
              <a:lnSpc>
                <a:spcPct val="90000"/>
              </a:lnSpc>
              <a:spcBef>
                <a:spcPts val="0"/>
              </a:spcBef>
              <a:spcAft>
                <a:spcPts val="0"/>
              </a:spcAft>
              <a:buClrTx/>
              <a:buSzTx/>
              <a:buFontTx/>
              <a:buNone/>
              <a:tabLst/>
              <a:defRPr/>
            </a:pPr>
            <a:r>
              <a:rPr kumimoji="0" lang="en-US" sz="9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For language availability visit the </a:t>
            </a:r>
            <a:r>
              <a:rPr kumimoji="0" lang="en-US" sz="9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hlinkClick r:id="rId4"/>
              </a:rPr>
              <a:t>Skype for Business International Availability page</a:t>
            </a:r>
            <a:endParaRPr kumimoji="0" lang="en-US" sz="9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p:txBody>
      </p:sp>
      <p:sp>
        <p:nvSpPr>
          <p:cNvPr id="63" name="Rectangle 62"/>
          <p:cNvSpPr/>
          <p:nvPr/>
        </p:nvSpPr>
        <p:spPr bwMode="auto">
          <a:xfrm>
            <a:off x="4493004" y="1630894"/>
            <a:ext cx="4231545" cy="2510253"/>
          </a:xfrm>
          <a:prstGeom prst="rect">
            <a:avLst/>
          </a:prstGeom>
          <a:noFill/>
          <a:ln w="3175">
            <a:solidFill>
              <a:schemeClr val="bg2">
                <a:lumMod val="50000"/>
                <a:alpha val="48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000" b="1" i="1" u="none" strike="noStrike" kern="900" cap="none" spc="0" normalizeH="0" baseline="0" noProof="0" dirty="0">
                <a:ln w="3175">
                  <a:noFill/>
                </a:ln>
                <a:solidFill>
                  <a:schemeClr val="bg2">
                    <a:lumMod val="50000"/>
                  </a:schemeClr>
                </a:solidFill>
                <a:effectLst/>
                <a:uLnTx/>
                <a:uFillTx/>
                <a:cs typeface="Segoe UI" panose="020B0502040204020203" pitchFamily="34" charset="0"/>
              </a:rPr>
              <a:t>Included Dial Out </a:t>
            </a:r>
            <a:r>
              <a:rPr kumimoji="0" lang="en-US" sz="1000" b="1" i="0" u="none" strike="noStrike" kern="900" cap="none" spc="0" normalizeH="0" baseline="0" noProof="0" dirty="0">
                <a:ln w="3175">
                  <a:noFill/>
                </a:ln>
                <a:solidFill>
                  <a:schemeClr val="bg2">
                    <a:lumMod val="50000"/>
                  </a:schemeClr>
                </a:solidFill>
                <a:effectLst/>
                <a:uLnTx/>
                <a:uFillTx/>
                <a:cs typeface="Segoe UI" panose="020B0502040204020203" pitchFamily="34" charset="0"/>
              </a:rPr>
              <a:t>Countries</a:t>
            </a:r>
          </a:p>
        </p:txBody>
      </p:sp>
      <p:sp>
        <p:nvSpPr>
          <p:cNvPr id="64" name="Rectangle 63"/>
          <p:cNvSpPr/>
          <p:nvPr/>
        </p:nvSpPr>
        <p:spPr bwMode="auto">
          <a:xfrm>
            <a:off x="8913065" y="1625185"/>
            <a:ext cx="3027923" cy="2515962"/>
          </a:xfrm>
          <a:prstGeom prst="rect">
            <a:avLst/>
          </a:prstGeom>
          <a:noFill/>
          <a:ln w="3175">
            <a:solidFill>
              <a:schemeClr val="bg2">
                <a:lumMod val="50000"/>
                <a:alpha val="48000"/>
              </a:schemeClr>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1000" b="1" i="1" u="none" strike="noStrike" kern="900" cap="none" spc="0" normalizeH="0" baseline="0" noProof="0" dirty="0">
                <a:ln w="3175">
                  <a:noFill/>
                </a:ln>
                <a:solidFill>
                  <a:schemeClr val="bg2">
                    <a:lumMod val="50000"/>
                  </a:schemeClr>
                </a:solidFill>
                <a:effectLst/>
                <a:uLnTx/>
                <a:uFillTx/>
                <a:cs typeface="Segoe UI" panose="020B0502040204020203" pitchFamily="34" charset="0"/>
              </a:rPr>
              <a:t>Pay as You Go Dial Out </a:t>
            </a:r>
            <a:r>
              <a:rPr kumimoji="0" lang="en-US" sz="1000" b="1" i="0" u="none" strike="noStrike" kern="900" cap="none" spc="0" normalizeH="0" baseline="0" noProof="0" dirty="0">
                <a:ln w="3175">
                  <a:noFill/>
                </a:ln>
                <a:solidFill>
                  <a:schemeClr val="bg2">
                    <a:lumMod val="50000"/>
                  </a:schemeClr>
                </a:solidFill>
                <a:effectLst/>
                <a:uLnTx/>
                <a:uFillTx/>
                <a:cs typeface="Segoe UI" panose="020B0502040204020203" pitchFamily="34" charset="0"/>
              </a:rPr>
              <a:t>Countries</a:t>
            </a:r>
          </a:p>
        </p:txBody>
      </p:sp>
      <p:sp>
        <p:nvSpPr>
          <p:cNvPr id="65" name="Rectangle 64"/>
          <p:cNvSpPr/>
          <p:nvPr/>
        </p:nvSpPr>
        <p:spPr>
          <a:xfrm>
            <a:off x="9127379" y="1902763"/>
            <a:ext cx="3594920" cy="2165898"/>
          </a:xfrm>
          <a:prstGeom prst="rect">
            <a:avLst/>
          </a:prstGeom>
        </p:spPr>
        <p:txBody>
          <a:bodyPr wrap="square" numCol="2">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Argentin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Bosnia &amp; Herzegovin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Chil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Colomb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Costa Ric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Dominican Republi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Egyp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Indonesia</a:t>
            </a:r>
            <a:r>
              <a:rPr kumimoji="0" lang="en-US" sz="11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3</a:t>
            </a:r>
            <a:endPar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Israel</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Latv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Lithuan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Malt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Monaco</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Peru</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Philippin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Qata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erb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ri Lank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Turke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UAE</a:t>
            </a:r>
            <a:r>
              <a:rPr kumimoji="0" lang="en-US" sz="11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3</a:t>
            </a:r>
            <a:endPar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Ukrain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Urugua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Venezuela</a:t>
            </a:r>
            <a:r>
              <a:rPr kumimoji="0" lang="en-US" sz="11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3</a:t>
            </a:r>
            <a:endPar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Vietnam</a:t>
            </a:r>
            <a:endParaRPr kumimoji="0" lang="en-US" sz="18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p:txBody>
      </p:sp>
      <p:sp>
        <p:nvSpPr>
          <p:cNvPr id="66" name="Rectangle 65"/>
          <p:cNvSpPr/>
          <p:nvPr/>
        </p:nvSpPr>
        <p:spPr>
          <a:xfrm>
            <a:off x="4679581" y="1908785"/>
            <a:ext cx="4155284" cy="2018994"/>
          </a:xfrm>
          <a:prstGeom prst="rect">
            <a:avLst/>
          </a:prstGeom>
        </p:spPr>
        <p:txBody>
          <a:bodyPr wrap="square" numCol="3">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Austral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Austr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Belgiu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Brazil</a:t>
            </a:r>
            <a:r>
              <a:rPr kumimoji="0" lang="en-US" sz="10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2</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Bulgar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Canad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Croatia</a:t>
            </a:r>
            <a:r>
              <a:rPr kumimoji="0" lang="en-US" sz="10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2</a:t>
            </a:r>
            <a:endPar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Czech Republi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Denmark</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Eston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Finl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Fran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German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Greec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Hungar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Irel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Ital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Japa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Luxembour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Malays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Mexico</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Netherland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New Zeal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Norwa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Pol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Portugal</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Puerto Rico</a:t>
            </a:r>
            <a:r>
              <a:rPr kumimoji="0" lang="en-US" sz="10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5</a:t>
            </a:r>
            <a:endPar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Roman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Russ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ingapor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lovak Republic</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loveni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outh Africa</a:t>
            </a:r>
            <a:r>
              <a:rPr kumimoji="0" lang="en-US" sz="1000" b="0" i="0" u="none" strike="noStrike" kern="900" cap="none" spc="0" normalizeH="0" baseline="30000" noProof="0" dirty="0">
                <a:ln w="3175">
                  <a:noFill/>
                </a:ln>
                <a:solidFill>
                  <a:schemeClr val="bg2">
                    <a:lumMod val="50000"/>
                  </a:schemeClr>
                </a:solidFill>
                <a:effectLst/>
                <a:uLnTx/>
                <a:uFillTx/>
                <a:latin typeface="Segoe UI"/>
                <a:cs typeface="Segoe UI" panose="020B0502040204020203" pitchFamily="34" charset="0"/>
              </a:rPr>
              <a:t>2</a:t>
            </a:r>
            <a:endPar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outh Korea</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pai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wede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Switzerl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Taiwan</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Thailand</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United Kingdo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rPr>
              <a:t>United States</a:t>
            </a:r>
            <a:endParaRPr kumimoji="0" lang="en-US" sz="1200" b="0" i="0" u="none" strike="noStrike" kern="900" cap="none" spc="0" normalizeH="0" baseline="0" noProof="0" dirty="0">
              <a:ln w="3175">
                <a:noFill/>
              </a:ln>
              <a:solidFill>
                <a:schemeClr val="bg2">
                  <a:lumMod val="50000"/>
                </a:schemeClr>
              </a:solidFill>
              <a:effectLst/>
              <a:uLnTx/>
              <a:uFillTx/>
              <a:latin typeface="Segoe UI"/>
              <a:cs typeface="Segoe UI" panose="020B0502040204020203" pitchFamily="34" charset="0"/>
            </a:endParaRPr>
          </a:p>
        </p:txBody>
      </p:sp>
      <p:sp>
        <p:nvSpPr>
          <p:cNvPr id="67" name="TextBox 66"/>
          <p:cNvSpPr txBox="1"/>
          <p:nvPr/>
        </p:nvSpPr>
        <p:spPr>
          <a:xfrm>
            <a:off x="9997933" y="4848236"/>
            <a:ext cx="1936891" cy="1897505"/>
          </a:xfrm>
          <a:prstGeom prst="rect">
            <a:avLst/>
          </a:prstGeom>
          <a:noFill/>
          <a:ln>
            <a:solidFill>
              <a:schemeClr val="accent1"/>
            </a:solidFill>
          </a:ln>
        </p:spPr>
        <p:txBody>
          <a:bodyPr wrap="square" lIns="91440" tIns="91440" rIns="91440" bIns="91440" rtlCol="0" anchor="ctr">
            <a:noAutofit/>
          </a:bodyPr>
          <a:lstStyle/>
          <a:p>
            <a:pPr algn="ctr"/>
            <a:r>
              <a:rPr lang="en-US" sz="1400" kern="0" dirty="0">
                <a:solidFill>
                  <a:sysClr val="windowText" lastClr="000000"/>
                </a:solidFill>
              </a:rPr>
              <a:t>For more details on PSTN Services, see the </a:t>
            </a:r>
            <a:r>
              <a:rPr lang="en-US" sz="1400" kern="0" dirty="0">
                <a:solidFill>
                  <a:sysClr val="windowText" lastClr="000000"/>
                </a:solidFill>
                <a:hlinkClick r:id="rId5"/>
              </a:rPr>
              <a:t>Skype for Business PSTN Services Overview </a:t>
            </a:r>
            <a:r>
              <a:rPr lang="en-US" sz="1400" kern="0" dirty="0">
                <a:solidFill>
                  <a:sysClr val="windowText" lastClr="000000"/>
                </a:solidFill>
              </a:rPr>
              <a:t>deck</a:t>
            </a:r>
          </a:p>
        </p:txBody>
      </p:sp>
    </p:spTree>
    <p:extLst>
      <p:ext uri="{BB962C8B-B14F-4D97-AF65-F5344CB8AC3E}">
        <p14:creationId xmlns:p14="http://schemas.microsoft.com/office/powerpoint/2010/main" val="3336937826"/>
      </p:ext>
    </p:extLst>
  </p:cSld>
  <p:clrMapOvr>
    <a:masterClrMapping/>
  </p:clrMapOvr>
  <mc:AlternateContent xmlns:mc="http://schemas.openxmlformats.org/markup-compatibility/2006" xmlns:p14="http://schemas.microsoft.com/office/powerpoint/2010/main">
    <mc:Choice Requires="p14">
      <p:transition spd="med" p14:dur="700">
        <p:wipe dir="u"/>
      </p:transition>
    </mc:Choice>
    <mc:Fallback xmlns="">
      <p:transition spd="med">
        <p:wipe dir="u"/>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Autofit/>
          </a:bodyPr>
          <a:lstStyle/>
          <a:p>
            <a:pPr defTabSz="914225">
              <a:lnSpc>
                <a:spcPts val="3500"/>
              </a:lnSpc>
            </a:pPr>
            <a:r>
              <a:rPr lang="en-US" sz="3137" b="1" kern="900" spc="294" dirty="0">
                <a:solidFill>
                  <a:schemeClr val="accent1"/>
                </a:solidFill>
                <a:latin typeface="+mn-lt"/>
                <a:ea typeface="+mj-ea"/>
                <a:cs typeface="+mj-cs"/>
              </a:rPr>
              <a:t>LAUNCH ANNOUNCEMENTS</a:t>
            </a:r>
          </a:p>
        </p:txBody>
      </p:sp>
      <p:sp>
        <p:nvSpPr>
          <p:cNvPr id="4" name="TextBox 3"/>
          <p:cNvSpPr txBox="1"/>
          <p:nvPr/>
        </p:nvSpPr>
        <p:spPr>
          <a:xfrm>
            <a:off x="687837" y="1665604"/>
            <a:ext cx="10829502" cy="4658214"/>
          </a:xfrm>
          <a:prstGeom prst="rect">
            <a:avLst/>
          </a:prstGeom>
        </p:spPr>
        <p:txBody>
          <a:bodyPr vert="horz" wrap="square" lIns="91440" tIns="91440" rIns="91440" bIns="91440" rtlCol="0" anchor="t">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pitchFamily="34" charset="0"/>
              <a:ea typeface="Segoe UI" pitchFamily="34" charset="0"/>
              <a:cs typeface="Segoe UI"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902332416"/>
              </p:ext>
            </p:extLst>
          </p:nvPr>
        </p:nvGraphicFramePr>
        <p:xfrm>
          <a:off x="777932" y="1257864"/>
          <a:ext cx="10450361" cy="4897120"/>
        </p:xfrm>
        <a:graphic>
          <a:graphicData uri="http://schemas.openxmlformats.org/drawingml/2006/table">
            <a:tbl>
              <a:tblPr firstRow="1" bandRow="1">
                <a:tableStyleId>{B301B821-A1FF-4177-AEE7-76D212191A09}</a:tableStyleId>
              </a:tblPr>
              <a:tblGrid>
                <a:gridCol w="2574138">
                  <a:extLst>
                    <a:ext uri="{9D8B030D-6E8A-4147-A177-3AD203B41FA5}">
                      <a16:colId xmlns:a16="http://schemas.microsoft.com/office/drawing/2014/main" val="1828895534"/>
                    </a:ext>
                  </a:extLst>
                </a:gridCol>
                <a:gridCol w="7876223">
                  <a:extLst>
                    <a:ext uri="{9D8B030D-6E8A-4147-A177-3AD203B41FA5}">
                      <a16:colId xmlns:a16="http://schemas.microsoft.com/office/drawing/2014/main" val="2561723550"/>
                    </a:ext>
                  </a:extLst>
                </a:gridCol>
              </a:tblGrid>
              <a:tr h="370840">
                <a:tc>
                  <a:txBody>
                    <a:bodyPr/>
                    <a:lstStyle/>
                    <a:p>
                      <a:r>
                        <a:rPr lang="en-US" dirty="0"/>
                        <a:t>Launch Date</a:t>
                      </a:r>
                    </a:p>
                  </a:txBody>
                  <a:tcPr/>
                </a:tc>
                <a:tc>
                  <a:txBody>
                    <a:bodyPr/>
                    <a:lstStyle/>
                    <a:p>
                      <a:r>
                        <a:rPr lang="en-US" dirty="0"/>
                        <a:t>Launch Event</a:t>
                      </a:r>
                    </a:p>
                  </a:txBody>
                  <a:tcPr/>
                </a:tc>
                <a:extLst>
                  <a:ext uri="{0D108BD9-81ED-4DB2-BD59-A6C34878D82A}">
                    <a16:rowId xmlns:a16="http://schemas.microsoft.com/office/drawing/2014/main" val="3660089715"/>
                  </a:ext>
                </a:extLst>
              </a:tr>
              <a:tr h="370840">
                <a:tc>
                  <a:txBody>
                    <a:bodyPr/>
                    <a:lstStyle/>
                    <a:p>
                      <a:pPr marL="0" marR="0" lvl="0" indent="0" algn="l" defTabSz="914363"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10/1/16</a:t>
                      </a:r>
                    </a:p>
                  </a:txBody>
                  <a:tcPr/>
                </a:tc>
                <a:tc>
                  <a:txBody>
                    <a:bodyPr/>
                    <a:lstStyle/>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E5 “Single SKU” in CSP (launched 10/5/16)</a:t>
                      </a:r>
                    </a:p>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a:ln w="3175">
                            <a:noFill/>
                          </a:ln>
                          <a:solidFill>
                            <a:srgbClr val="797A7D"/>
                          </a:solidFill>
                          <a:effectLst/>
                          <a:uLnTx/>
                          <a:uFillTx/>
                          <a:latin typeface="+mn-lt"/>
                          <a:ea typeface="+mn-ea"/>
                          <a:cs typeface="Segoe UI" panose="020B0502040204020203" pitchFamily="34" charset="0"/>
                        </a:rPr>
                        <a:t>Secure </a:t>
                      </a: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Productive Enterprise (SPE) – SPE E3 will replace ECS, NEW SPE E5 to be available</a:t>
                      </a:r>
                    </a:p>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Office 365 availability will expand to the following markets via EA, Direct, and Open channels: Myanmar, Maldives, Cambodia, Laos, Bhutan, Mozambique, Greenland, Holy See (Vatican City), Martinique and Guadeloupe</a:t>
                      </a:r>
                    </a:p>
                  </a:txBody>
                  <a:tcPr/>
                </a:tc>
                <a:extLst>
                  <a:ext uri="{0D108BD9-81ED-4DB2-BD59-A6C34878D82A}">
                    <a16:rowId xmlns:a16="http://schemas.microsoft.com/office/drawing/2014/main" val="175284427"/>
                  </a:ext>
                </a:extLst>
              </a:tr>
              <a:tr h="370840">
                <a:tc>
                  <a:txBody>
                    <a:bodyPr/>
                    <a:lstStyle/>
                    <a:p>
                      <a:pPr marL="0" marR="0" lvl="0" indent="0" algn="l" defTabSz="914363"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9/1/16</a:t>
                      </a:r>
                    </a:p>
                  </a:txBody>
                  <a:tcPr/>
                </a:tc>
                <a:tc>
                  <a:txBody>
                    <a:bodyPr/>
                    <a:lstStyle/>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Consumption Billing for PSTN Conferencing and PSTN Calling services</a:t>
                      </a:r>
                    </a:p>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PSTN Conferencing services expanded to an additional 17 countries</a:t>
                      </a:r>
                    </a:p>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E5 “Single SKU”</a:t>
                      </a:r>
                    </a:p>
                  </a:txBody>
                  <a:tcPr/>
                </a:tc>
                <a:extLst>
                  <a:ext uri="{0D108BD9-81ED-4DB2-BD59-A6C34878D82A}">
                    <a16:rowId xmlns:a16="http://schemas.microsoft.com/office/drawing/2014/main" val="90347006"/>
                  </a:ext>
                </a:extLst>
              </a:tr>
              <a:tr h="370840">
                <a:tc>
                  <a:txBody>
                    <a:bodyPr/>
                    <a:lstStyle/>
                    <a:p>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7/1/16</a:t>
                      </a:r>
                    </a:p>
                  </a:txBody>
                  <a:tcPr/>
                </a:tc>
                <a:tc>
                  <a:txBody>
                    <a:bodyPr/>
                    <a:lstStyle/>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PSTN Calling launched in the United Kingdom</a:t>
                      </a:r>
                    </a:p>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PSTN Conferencing </a:t>
                      </a:r>
                      <a:r>
                        <a:rPr kumimoji="0" lang="en-US" sz="14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Toll-Free Dial-in launched for customers in PSTN Conferencing Sell-to</a:t>
                      </a:r>
                      <a:r>
                        <a:rPr kumimoji="0" lang="en-US" sz="1400" b="0" i="0" u="none" strike="noStrike" kern="900" cap="none" spc="0" normalizeH="0" noProof="0" dirty="0">
                          <a:ln w="3175">
                            <a:noFill/>
                          </a:ln>
                          <a:solidFill>
                            <a:srgbClr val="797A7D"/>
                          </a:solidFill>
                          <a:effectLst/>
                          <a:uLnTx/>
                          <a:uFillTx/>
                          <a:latin typeface="+mn-lt"/>
                          <a:ea typeface="+mn-ea"/>
                          <a:cs typeface="Segoe UI" panose="020B0502040204020203" pitchFamily="34" charset="0"/>
                        </a:rPr>
                        <a:t> markets</a:t>
                      </a:r>
                      <a:endPar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endParaRPr>
                    </a:p>
                  </a:txBody>
                  <a:tcPr/>
                </a:tc>
                <a:extLst>
                  <a:ext uri="{0D108BD9-81ED-4DB2-BD59-A6C34878D82A}">
                    <a16:rowId xmlns:a16="http://schemas.microsoft.com/office/drawing/2014/main" val="2292278925"/>
                  </a:ext>
                </a:extLst>
              </a:tr>
              <a:tr h="370840">
                <a:tc>
                  <a:txBody>
                    <a:bodyPr/>
                    <a:lstStyle/>
                    <a:p>
                      <a:r>
                        <a:rPr kumimoji="0" lang="en-US" sz="1400" b="0" i="0" u="none" strike="noStrike" kern="900" cap="none" spc="0" normalizeH="0" baseline="0" dirty="0">
                          <a:ln w="3175">
                            <a:noFill/>
                          </a:ln>
                          <a:solidFill>
                            <a:srgbClr val="797A7D"/>
                          </a:solidFill>
                          <a:effectLst/>
                          <a:uLnTx/>
                          <a:uFillTx/>
                          <a:latin typeface="+mn-lt"/>
                          <a:ea typeface="+mn-ea"/>
                          <a:cs typeface="Segoe UI" panose="020B0502040204020203" pitchFamily="34" charset="0"/>
                        </a:rPr>
                        <a:t>6/1/16</a:t>
                      </a:r>
                    </a:p>
                  </a:txBody>
                  <a:tcPr/>
                </a:tc>
                <a:tc>
                  <a:txBody>
                    <a:bodyPr/>
                    <a:lstStyle/>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PSTN Conferencing services expanded to 16 new countries: </a:t>
                      </a:r>
                      <a:br>
                        <a:rPr kumimoji="0" lang="en-US" sz="14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br>
                      <a:r>
                        <a:rPr kumimoji="0" lang="en-US" sz="14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Argentina, Chile, Colombia, Hungary, Indonesia, Israel, Malaysia, Mexico, New Zealand, Peru, Puerto Rico, Taiwan, Thailand, Turkey, United Arab Emirates and Venezuela</a:t>
                      </a:r>
                    </a:p>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Skype for Business PSTN Conferencing and PSTN Calling will be available for Enterprise, Government, and Academic (Enrollment for Education Solutions) customers</a:t>
                      </a:r>
                    </a:p>
                    <a:p>
                      <a:pPr marL="171450" marR="0" lvl="0" indent="-171450" algn="l" defTabSz="91436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PSTN Calling launched in Puerto Rico</a:t>
                      </a:r>
                    </a:p>
                  </a:txBody>
                  <a:tcPr/>
                </a:tc>
                <a:extLst>
                  <a:ext uri="{0D108BD9-81ED-4DB2-BD59-A6C34878D82A}">
                    <a16:rowId xmlns:a16="http://schemas.microsoft.com/office/drawing/2014/main" val="854253922"/>
                  </a:ext>
                </a:extLst>
              </a:tr>
            </a:tbl>
          </a:graphicData>
        </a:graphic>
      </p:graphicFrame>
    </p:spTree>
    <p:extLst>
      <p:ext uri="{BB962C8B-B14F-4D97-AF65-F5344CB8AC3E}">
        <p14:creationId xmlns:p14="http://schemas.microsoft.com/office/powerpoint/2010/main" val="17902762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 name="TextBox 3"/>
          <p:cNvSpPr txBox="1"/>
          <p:nvPr/>
        </p:nvSpPr>
        <p:spPr>
          <a:xfrm>
            <a:off x="553366" y="1360449"/>
            <a:ext cx="10829502" cy="4658214"/>
          </a:xfrm>
          <a:prstGeom prst="rect">
            <a:avLst/>
          </a:prstGeom>
        </p:spPr>
        <p:txBody>
          <a:bodyPr vert="horz" wrap="square" lIns="91440" tIns="91440" rIns="91440" bIns="91440" rtlCol="0" anchor="t">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pitchFamily="34" charset="0"/>
              <a:ea typeface="Segoe UI" pitchFamily="34" charset="0"/>
              <a:cs typeface="Segoe UI" pitchFamily="34" charset="0"/>
            </a:endParaRPr>
          </a:p>
        </p:txBody>
      </p:sp>
      <p:sp>
        <p:nvSpPr>
          <p:cNvPr id="13" name="TextBox 12"/>
          <p:cNvSpPr txBox="1"/>
          <p:nvPr/>
        </p:nvSpPr>
        <p:spPr>
          <a:xfrm>
            <a:off x="302217" y="5492733"/>
            <a:ext cx="11549461" cy="1126280"/>
          </a:xfrm>
          <a:prstGeom prst="rect">
            <a:avLst/>
          </a:prstGeom>
          <a:noFill/>
        </p:spPr>
        <p:txBody>
          <a:bodyPr wrap="square" lIns="179285" tIns="143428" rIns="179285" bIns="143428" rtlCol="0" anchor="ctr">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a:ln>
                  <a:noFill/>
                </a:ln>
                <a:gradFill>
                  <a:gsLst>
                    <a:gs pos="2917">
                      <a:srgbClr val="505050"/>
                    </a:gs>
                    <a:gs pos="30000">
                      <a:srgbClr val="505050"/>
                    </a:gs>
                  </a:gsLst>
                  <a:lin ang="5400000" scaled="0"/>
                </a:gradFill>
                <a:effectLst/>
                <a:uLnTx/>
                <a:uFillTx/>
                <a:latin typeface="Segoe UI"/>
              </a:rPr>
              <a:t>*</a:t>
            </a:r>
            <a:r>
              <a:rPr kumimoji="0" lang="en-US" sz="1000" b="0" i="0" u="none" strike="noStrike" kern="0" cap="none" spc="0" normalizeH="0" baseline="0" noProof="0">
                <a:ln>
                  <a:noFill/>
                </a:ln>
                <a:gradFill>
                  <a:gsLst>
                    <a:gs pos="2917">
                      <a:srgbClr val="505050"/>
                    </a:gs>
                    <a:gs pos="30000">
                      <a:srgbClr val="505050"/>
                    </a:gs>
                  </a:gsLst>
                  <a:lin ang="5400000" scaled="0"/>
                </a:gradFill>
                <a:effectLst/>
                <a:uLnTx/>
                <a:uFillTx/>
              </a:rPr>
              <a:t>See </a:t>
            </a: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PSTN Calling minute limits</a:t>
            </a:r>
          </a:p>
          <a:p>
            <a:pPr marL="0" marR="0" lvl="0" indent="0" defTabSz="896218" eaLnBrk="1" fontAlgn="auto" latinLnBrk="0" hangingPunct="1">
              <a:lnSpc>
                <a:spcPct val="90000"/>
              </a:lnSpc>
              <a:spcBef>
                <a:spcPts val="300"/>
              </a:spcBef>
              <a:spcAft>
                <a:spcPts val="3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a:t>
            </a: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 Minutes will be pooled at the tenant-level for each plan type. For all local and international calls placed to users within the same tenant, Peer to Peer calling will be enabled and the call will be placed over the voice over IP network and will not count towards the excessive use limits. </a:t>
            </a:r>
          </a:p>
          <a:p>
            <a:pPr marL="0" marR="0" lvl="0" indent="0" defTabSz="896218" eaLnBrk="1" fontAlgn="auto" latinLnBrk="0" hangingPunct="1">
              <a:lnSpc>
                <a:spcPct val="90000"/>
              </a:lnSpc>
              <a:spcBef>
                <a:spcPts val="300"/>
              </a:spcBef>
              <a:spcAft>
                <a:spcPts val="3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Note: Education pricing differs from commercial.</a:t>
            </a:r>
            <a:endParaRPr kumimoji="0" lang="en-US" sz="12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graphicFrame>
        <p:nvGraphicFramePr>
          <p:cNvPr id="5" name="Table 4"/>
          <p:cNvGraphicFramePr>
            <a:graphicFrameLocks noGrp="1"/>
          </p:cNvGraphicFramePr>
          <p:nvPr>
            <p:extLst/>
          </p:nvPr>
        </p:nvGraphicFramePr>
        <p:xfrm>
          <a:off x="302216" y="1357392"/>
          <a:ext cx="11549461" cy="4259580"/>
        </p:xfrm>
        <a:graphic>
          <a:graphicData uri="http://schemas.openxmlformats.org/drawingml/2006/table">
            <a:tbl>
              <a:tblPr firstRow="1" bandRow="1">
                <a:tableStyleId>{2D5ABB26-0587-4C30-8999-92F81FD0307C}</a:tableStyleId>
              </a:tblPr>
              <a:tblGrid>
                <a:gridCol w="2039701">
                  <a:extLst>
                    <a:ext uri="{9D8B030D-6E8A-4147-A177-3AD203B41FA5}">
                      <a16:colId xmlns:a16="http://schemas.microsoft.com/office/drawing/2014/main" val="1545911095"/>
                    </a:ext>
                  </a:extLst>
                </a:gridCol>
                <a:gridCol w="2377440">
                  <a:extLst>
                    <a:ext uri="{9D8B030D-6E8A-4147-A177-3AD203B41FA5}">
                      <a16:colId xmlns:a16="http://schemas.microsoft.com/office/drawing/2014/main" val="3211828645"/>
                    </a:ext>
                  </a:extLst>
                </a:gridCol>
                <a:gridCol w="2377440">
                  <a:extLst>
                    <a:ext uri="{9D8B030D-6E8A-4147-A177-3AD203B41FA5}">
                      <a16:colId xmlns:a16="http://schemas.microsoft.com/office/drawing/2014/main" val="4220499722"/>
                    </a:ext>
                  </a:extLst>
                </a:gridCol>
                <a:gridCol w="2377440">
                  <a:extLst>
                    <a:ext uri="{9D8B030D-6E8A-4147-A177-3AD203B41FA5}">
                      <a16:colId xmlns:a16="http://schemas.microsoft.com/office/drawing/2014/main" val="393185728"/>
                    </a:ext>
                  </a:extLst>
                </a:gridCol>
                <a:gridCol w="2377440">
                  <a:extLst>
                    <a:ext uri="{9D8B030D-6E8A-4147-A177-3AD203B41FA5}">
                      <a16:colId xmlns:a16="http://schemas.microsoft.com/office/drawing/2014/main" val="2863934245"/>
                    </a:ext>
                  </a:extLst>
                </a:gridCol>
              </a:tblGrid>
              <a:tr h="640080">
                <a:tc>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2000" kern="1200" dirty="0">
                          <a:solidFill>
                            <a:schemeClr val="bg1"/>
                          </a:solidFill>
                          <a:latin typeface="+mn-lt"/>
                          <a:ea typeface="+mn-ea"/>
                          <a:cs typeface="+mn-cs"/>
                        </a:rPr>
                        <a:t>PSTN Conferencing</a:t>
                      </a:r>
                    </a:p>
                  </a:txBody>
                  <a:tcPr anchor="ctr">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chemeClr val="bg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gridSpan="2">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lang="en-US" sz="2000" kern="1200" dirty="0">
                          <a:solidFill>
                            <a:schemeClr val="bg1"/>
                          </a:solidFill>
                          <a:latin typeface="+mn-lt"/>
                          <a:ea typeface="+mn-ea"/>
                          <a:cs typeface="+mn-cs"/>
                        </a:rPr>
                        <a:t>PSTN Calling</a:t>
                      </a:r>
                    </a:p>
                  </a:txBody>
                  <a:tcPr anchor="ctr">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hMerge="1">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mn-lt"/>
                        <a:ea typeface="+mn-ea"/>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457479315"/>
                  </a:ext>
                </a:extLst>
              </a:tr>
              <a:tr h="365760">
                <a:tc>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a:r>
                        <a:rPr lang="en-US" sz="1200" dirty="0">
                          <a:solidFill>
                            <a:schemeClr val="bg1"/>
                          </a:solidFill>
                        </a:rPr>
                        <a:t>Included Dial Out Countrie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bg1"/>
                          </a:solidFill>
                        </a:rPr>
                        <a:t>Pay as you Go Dial Out Countries</a:t>
                      </a:r>
                    </a:p>
                  </a:txBody>
                  <a:tcPr anchor="ctr">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algn="ctr" defTabSz="1087869" rtl="0" eaLnBrk="1" latinLnBrk="0" hangingPunct="1"/>
                      <a:r>
                        <a:rPr lang="en-US" sz="1200" kern="1200" dirty="0">
                          <a:solidFill>
                            <a:schemeClr val="bg1"/>
                          </a:solidFill>
                          <a:latin typeface="+mn-lt"/>
                          <a:ea typeface="+mn-ea"/>
                          <a:cs typeface="+mn-cs"/>
                        </a:rPr>
                        <a:t>Domestic Plan</a:t>
                      </a:r>
                    </a:p>
                    <a:p>
                      <a:pPr marL="0" algn="ctr" defTabSz="1087869" rtl="0" eaLnBrk="1" latinLnBrk="0" hangingPunct="1"/>
                      <a:r>
                        <a:rPr lang="en-US" sz="1200" kern="1200" dirty="0">
                          <a:solidFill>
                            <a:schemeClr val="bg1"/>
                          </a:solidFill>
                          <a:latin typeface="+mn-lt"/>
                          <a:ea typeface="+mn-ea"/>
                          <a:cs typeface="+mn-cs"/>
                        </a:rPr>
                        <a:t>$12 u/m</a:t>
                      </a:r>
                    </a:p>
                  </a:txBody>
                  <a:tcPr>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Domestic + International Plan</a:t>
                      </a:r>
                    </a:p>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24 u/m</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4564816"/>
                  </a:ext>
                </a:extLst>
              </a:tr>
              <a:tr h="1005840">
                <a:tc>
                  <a:txBody>
                    <a:bodyPr/>
                    <a:lstStyle/>
                    <a:p>
                      <a:pPr algn="ctr"/>
                      <a:r>
                        <a:rPr lang="en-US" sz="1800" kern="1200" dirty="0">
                          <a:solidFill>
                            <a:schemeClr val="bg1"/>
                          </a:solidFill>
                          <a:latin typeface="+mn-lt"/>
                          <a:ea typeface="+mn-ea"/>
                          <a:cs typeface="+mn-cs"/>
                        </a:rPr>
                        <a:t>Included in </a:t>
                      </a:r>
                      <a:br>
                        <a:rPr lang="en-US" sz="1800" kern="1200" dirty="0">
                          <a:solidFill>
                            <a:schemeClr val="bg1"/>
                          </a:solidFill>
                          <a:latin typeface="+mn-lt"/>
                          <a:ea typeface="+mn-ea"/>
                          <a:cs typeface="+mn-cs"/>
                        </a:rPr>
                      </a:br>
                      <a:r>
                        <a:rPr lang="en-US" sz="1800" kern="1200" dirty="0">
                          <a:solidFill>
                            <a:schemeClr val="bg1"/>
                          </a:solidFill>
                          <a:latin typeface="+mn-lt"/>
                          <a:ea typeface="+mn-ea"/>
                          <a:cs typeface="+mn-cs"/>
                        </a:rPr>
                        <a:t>Service Pla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bound Conferencing</a:t>
                      </a:r>
                    </a:p>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Dial Out Conferencing to </a:t>
                      </a:r>
                      <a:r>
                        <a:rPr kumimoji="0" lang="en-US" sz="1200" b="0" i="1"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cluded Dial Out </a:t>
                      </a: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Countries (Domestic Dial Out Included)</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bound Conferencing</a:t>
                      </a:r>
                    </a:p>
                    <a:p>
                      <a:pPr marL="0" marR="0" lvl="0" indent="0" algn="l"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Dial Out Conferencing to </a:t>
                      </a:r>
                      <a:r>
                        <a:rPr kumimoji="0" lang="en-US" sz="1200" b="0" i="1"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cluded Dial Out </a:t>
                      </a: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Countries (Domestic Dial Out Excluded)</a:t>
                      </a:r>
                    </a:p>
                  </a:txBody>
                  <a:tcPr marT="137160" marB="137160">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In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Domestic outbound calling*</a:t>
                      </a:r>
                    </a:p>
                  </a:txBody>
                  <a:tcPr marT="137160" marB="137160">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In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Domestic out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ternational</a:t>
                      </a: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 outbound calling*</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329692888"/>
                  </a:ext>
                </a:extLst>
              </a:tr>
              <a:tr h="1005840">
                <a:tc>
                  <a:txBody>
                    <a:bodyPr/>
                    <a:lstStyle/>
                    <a:p>
                      <a:pPr algn="ctr"/>
                      <a:r>
                        <a:rPr lang="en-US" sz="1800" kern="1200" dirty="0">
                          <a:solidFill>
                            <a:schemeClr val="bg1"/>
                          </a:solidFill>
                          <a:latin typeface="+mn-lt"/>
                          <a:ea typeface="+mn-ea"/>
                          <a:cs typeface="+mn-cs"/>
                        </a:rPr>
                        <a:t>PSTN Consumption Required</a:t>
                      </a:r>
                      <a:br>
                        <a:rPr lang="en-US" sz="1800" kern="1200" dirty="0">
                          <a:solidFill>
                            <a:schemeClr val="bg1"/>
                          </a:solidFill>
                          <a:latin typeface="+mn-lt"/>
                          <a:ea typeface="+mn-ea"/>
                          <a:cs typeface="+mn-cs"/>
                        </a:rPr>
                      </a:br>
                      <a:r>
                        <a:rPr lang="en-US" sz="1050" kern="1200" dirty="0">
                          <a:solidFill>
                            <a:schemeClr val="bg1"/>
                          </a:solidFill>
                          <a:latin typeface="+mn-lt"/>
                          <a:ea typeface="+mn-ea"/>
                          <a:cs typeface="+mn-cs"/>
                        </a:rPr>
                        <a:t>(per minute usage)</a:t>
                      </a:r>
                      <a:endParaRPr lang="en-US" sz="1800" kern="1200" dirty="0">
                        <a:solidFill>
                          <a:schemeClr val="bg1"/>
                        </a:solidFill>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Toll Free Dial-in Conferencing</a:t>
                      </a:r>
                    </a:p>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Dial Out Conferencing to PAYG Dial Out Countries</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Toll Free Dial-in Conferencing</a:t>
                      </a:r>
                    </a:p>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Dial Out Conferencing to PAYG Dial Out Countries</a:t>
                      </a:r>
                    </a:p>
                  </a:txBody>
                  <a:tcPr marT="137160" marB="137160">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ternational out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Excessive usage**</a:t>
                      </a:r>
                      <a:endParaRPr kumimoji="0" lang="en-US" sz="1200" b="0" i="0" u="none" strike="noStrike" kern="900" cap="none" spc="0" normalizeH="0" baseline="0" dirty="0">
                        <a:ln w="3175">
                          <a:noFill/>
                        </a:ln>
                        <a:solidFill>
                          <a:srgbClr val="797A7D"/>
                        </a:solidFill>
                        <a:effectLst/>
                        <a:uLnTx/>
                        <a:uFillTx/>
                        <a:latin typeface="+mn-lt"/>
                        <a:ea typeface="+mn-ea"/>
                        <a:cs typeface="Segoe UI" panose="020B0502040204020203" pitchFamily="34" charset="0"/>
                      </a:endParaRPr>
                    </a:p>
                  </a:txBody>
                  <a:tcPr marT="137160" marB="137160">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Excessive usage**</a:t>
                      </a:r>
                      <a:endParaRPr kumimoji="0" lang="en-US" sz="1200" b="0" i="0" u="none" strike="noStrike" kern="900" cap="none" spc="0" normalizeH="0" baseline="0" dirty="0">
                        <a:ln w="3175">
                          <a:noFill/>
                        </a:ln>
                        <a:solidFill>
                          <a:srgbClr val="797A7D"/>
                        </a:solidFill>
                        <a:effectLst/>
                        <a:uLnTx/>
                        <a:uFillTx/>
                        <a:latin typeface="+mn-lt"/>
                        <a:ea typeface="+mn-ea"/>
                        <a:cs typeface="Segoe UI" panose="020B0502040204020203" pitchFamily="34" charset="0"/>
                      </a:endParaRP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533846471"/>
                  </a:ext>
                </a:extLst>
              </a:tr>
              <a:tr h="1005840">
                <a:tc>
                  <a:txBody>
                    <a:bodyPr/>
                    <a:lstStyle/>
                    <a:p>
                      <a:pPr algn="ctr"/>
                      <a:r>
                        <a:rPr lang="en-US" sz="1800" kern="1200" dirty="0">
                          <a:solidFill>
                            <a:schemeClr val="bg1"/>
                          </a:solidFill>
                          <a:latin typeface="+mn-lt"/>
                          <a:ea typeface="+mn-ea"/>
                          <a:cs typeface="+mn-cs"/>
                        </a:rPr>
                        <a:t>Consumption Scenario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gridSpan="2">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A user dials out to a user in a PAYG country - usage charged by the minute</a:t>
                      </a:r>
                    </a:p>
                  </a:txBody>
                  <a:tcPr marT="137160" marB="137160">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hMerge="1">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endParaRPr>
                    </a:p>
                  </a:txBody>
                  <a:tcPr marT="137160" marB="137160">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A user needs to call an international number.  They can use PSTN Consumption to pay per minute</a:t>
                      </a:r>
                    </a:p>
                  </a:txBody>
                  <a:tcPr marT="137160" marB="137160">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Customer reaches either minute limit but needs to make more Domestic or International calls.  All overages charged by the minute.</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73008421"/>
                  </a:ext>
                </a:extLst>
              </a:tr>
            </a:tbl>
          </a:graphicData>
        </a:graphic>
      </p:graphicFrame>
      <p:sp>
        <p:nvSpPr>
          <p:cNvPr id="6" name="Rectangle 5"/>
          <p:cNvSpPr/>
          <p:nvPr/>
        </p:nvSpPr>
        <p:spPr bwMode="auto">
          <a:xfrm>
            <a:off x="0" y="864066"/>
            <a:ext cx="12192000" cy="38589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Introductory </a:t>
            </a:r>
            <a:r>
              <a:rPr kumimoji="0" lang="en-US" sz="20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Offer Period</a:t>
            </a: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a:xfrm>
            <a:off x="288682" y="151004"/>
            <a:ext cx="11745651" cy="541174"/>
          </a:xfrm>
          <a:prstGeom prst="rect">
            <a:avLst/>
          </a:prstGeom>
        </p:spPr>
        <p:txBody>
          <a:bodyPr wrap="none">
            <a:spAutoFit/>
          </a:bodyPr>
          <a:lstStyle/>
          <a:p>
            <a:pPr lvl="0" defTabSz="913775">
              <a:lnSpc>
                <a:spcPts val="3499"/>
              </a:lnSpc>
              <a:spcBef>
                <a:spcPct val="0"/>
              </a:spcBef>
              <a:defRPr/>
            </a:pPr>
            <a:r>
              <a:rPr lang="en-US" sz="3200" b="1" kern="900" spc="294" dirty="0">
                <a:solidFill>
                  <a:schemeClr val="accent1"/>
                </a:solidFill>
              </a:rPr>
              <a:t>PSTN SERVICE PLANS OVERVIEW THROUGH 2/1/17</a:t>
            </a:r>
            <a:endParaRPr kumimoji="0" lang="en-US" sz="3200" b="1" i="0" u="none" strike="noStrike" kern="900" cap="none" spc="294" normalizeH="0" baseline="0" noProof="0" dirty="0">
              <a:ln w="3175">
                <a:noFill/>
              </a:ln>
              <a:solidFill>
                <a:srgbClr val="DC3C00"/>
              </a:solidFill>
              <a:effectLst/>
              <a:uLnTx/>
              <a:uFillTx/>
              <a:latin typeface="Segoe UI"/>
              <a:cs typeface="Arial" charset="0"/>
            </a:endParaRPr>
          </a:p>
        </p:txBody>
      </p:sp>
      <p:sp>
        <p:nvSpPr>
          <p:cNvPr id="10" name="TextBox 9"/>
          <p:cNvSpPr txBox="1"/>
          <p:nvPr/>
        </p:nvSpPr>
        <p:spPr>
          <a:xfrm>
            <a:off x="6690578" y="6456983"/>
            <a:ext cx="5400782" cy="297041"/>
          </a:xfrm>
          <a:prstGeom prst="rect">
            <a:avLst/>
          </a:prstGeom>
          <a:noFill/>
          <a:ln>
            <a:solidFill>
              <a:schemeClr val="accent1"/>
            </a:solidFill>
          </a:ln>
        </p:spPr>
        <p:txBody>
          <a:bodyPr wrap="square" lIns="91440" tIns="91440" rIns="91440" bIns="91440" rtlCol="0" anchor="ctr">
            <a:noAutofit/>
          </a:bodyPr>
          <a:lstStyle/>
          <a:p>
            <a:pPr algn="ctr"/>
            <a:r>
              <a:rPr lang="en-US" sz="1000" kern="0" dirty="0">
                <a:gradFill>
                  <a:gsLst>
                    <a:gs pos="2917">
                      <a:srgbClr val="505050"/>
                    </a:gs>
                    <a:gs pos="30000">
                      <a:srgbClr val="505050"/>
                    </a:gs>
                  </a:gsLst>
                  <a:lin ang="5400000" scaled="0"/>
                </a:gradFill>
              </a:rPr>
              <a:t>For more details on PSTN Services, see the </a:t>
            </a:r>
            <a:r>
              <a:rPr lang="en-US" sz="1000" kern="0" dirty="0">
                <a:solidFill>
                  <a:sysClr val="windowText" lastClr="000000"/>
                </a:solidFill>
                <a:hlinkClick r:id="rId3"/>
              </a:rPr>
              <a:t>Skype for Business PSTN Services Overview </a:t>
            </a:r>
            <a:r>
              <a:rPr lang="en-US" sz="1000" kern="0" dirty="0">
                <a:gradFill>
                  <a:gsLst>
                    <a:gs pos="2917">
                      <a:srgbClr val="505050"/>
                    </a:gs>
                    <a:gs pos="30000">
                      <a:srgbClr val="505050"/>
                    </a:gs>
                  </a:gsLst>
                  <a:lin ang="5400000" scaled="0"/>
                </a:gradFill>
              </a:rPr>
              <a:t>deck</a:t>
            </a:r>
          </a:p>
        </p:txBody>
      </p:sp>
    </p:spTree>
    <p:extLst>
      <p:ext uri="{BB962C8B-B14F-4D97-AF65-F5344CB8AC3E}">
        <p14:creationId xmlns:p14="http://schemas.microsoft.com/office/powerpoint/2010/main" val="358168883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505050"/>
              </a:solidFill>
              <a:effectLst/>
              <a:uLnTx/>
              <a:uFillTx/>
              <a:latin typeface="Segoe UI" pitchFamily="34" charset="0"/>
              <a:cs typeface="Segoe UI" pitchFamily="34" charset="0"/>
            </a:endParaRPr>
          </a:p>
        </p:txBody>
      </p:sp>
      <p:sp>
        <p:nvSpPr>
          <p:cNvPr id="4" name="TextBox 3"/>
          <p:cNvSpPr txBox="1"/>
          <p:nvPr/>
        </p:nvSpPr>
        <p:spPr>
          <a:xfrm>
            <a:off x="553366" y="1360449"/>
            <a:ext cx="10829502" cy="4658214"/>
          </a:xfrm>
          <a:prstGeom prst="rect">
            <a:avLst/>
          </a:prstGeom>
        </p:spPr>
        <p:txBody>
          <a:bodyPr vert="horz" wrap="square" lIns="91440" tIns="91440" rIns="91440" bIns="91440" rtlCol="0" anchor="t">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Segoe UI" pitchFamily="34" charset="0"/>
              <a:ea typeface="Segoe UI" pitchFamily="34" charset="0"/>
              <a:cs typeface="Segoe UI" pitchFamily="34" charset="0"/>
            </a:endParaRPr>
          </a:p>
        </p:txBody>
      </p:sp>
      <p:sp>
        <p:nvSpPr>
          <p:cNvPr id="13" name="TextBox 12"/>
          <p:cNvSpPr txBox="1"/>
          <p:nvPr/>
        </p:nvSpPr>
        <p:spPr>
          <a:xfrm>
            <a:off x="302217" y="5350378"/>
            <a:ext cx="11549461" cy="1125923"/>
          </a:xfrm>
          <a:prstGeom prst="rect">
            <a:avLst/>
          </a:prstGeom>
          <a:noFill/>
        </p:spPr>
        <p:txBody>
          <a:bodyPr wrap="square" lIns="179285" tIns="143428" rIns="179285" bIns="143428" rtlCol="0" anchor="ctr">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a:t>
            </a: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See PSTN Calling minute limits</a:t>
            </a:r>
          </a:p>
          <a:p>
            <a:pPr marL="0" marR="0" lvl="0" indent="0" defTabSz="896218" eaLnBrk="1" fontAlgn="auto" latinLnBrk="0" hangingPunct="1">
              <a:lnSpc>
                <a:spcPct val="90000"/>
              </a:lnSpc>
              <a:spcBef>
                <a:spcPts val="300"/>
              </a:spcBef>
              <a:spcAft>
                <a:spcPts val="3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a:t>
            </a: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rPr>
              <a:t> Minutes will be pooled at the tenant-level for each plan type. For all local and international calls placed to users within the same tenant, Peer to Peer calling will be enabled and the call will be placed over the voice over IP network and will not count towards the excessive use limits. </a:t>
            </a:r>
          </a:p>
          <a:p>
            <a:pPr marL="0" marR="0" lvl="0" indent="0" defTabSz="896218" eaLnBrk="1" fontAlgn="auto" latinLnBrk="0" hangingPunct="1">
              <a:lnSpc>
                <a:spcPct val="90000"/>
              </a:lnSpc>
              <a:spcBef>
                <a:spcPts val="300"/>
              </a:spcBef>
              <a:spcAft>
                <a:spcPts val="300"/>
              </a:spcAft>
              <a:buClrTx/>
              <a:buSzTx/>
              <a:buFontTx/>
              <a:buNone/>
              <a:tabLst/>
              <a:defRPr/>
            </a:pPr>
            <a:r>
              <a:rPr kumimoji="0" lang="en-US" sz="10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Note: Education pricing differs from commercial.</a:t>
            </a:r>
            <a:endParaRPr kumimoji="0" lang="en-US" sz="120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graphicFrame>
        <p:nvGraphicFramePr>
          <p:cNvPr id="5" name="Table 4"/>
          <p:cNvGraphicFramePr>
            <a:graphicFrameLocks noGrp="1"/>
          </p:cNvGraphicFramePr>
          <p:nvPr>
            <p:extLst/>
          </p:nvPr>
        </p:nvGraphicFramePr>
        <p:xfrm>
          <a:off x="302218" y="976498"/>
          <a:ext cx="11549461" cy="4373880"/>
        </p:xfrm>
        <a:graphic>
          <a:graphicData uri="http://schemas.openxmlformats.org/drawingml/2006/table">
            <a:tbl>
              <a:tblPr firstRow="1" bandRow="1">
                <a:tableStyleId>{2D5ABB26-0587-4C30-8999-92F81FD0307C}</a:tableStyleId>
              </a:tblPr>
              <a:tblGrid>
                <a:gridCol w="2039701">
                  <a:extLst>
                    <a:ext uri="{9D8B030D-6E8A-4147-A177-3AD203B41FA5}">
                      <a16:colId xmlns:a16="http://schemas.microsoft.com/office/drawing/2014/main" val="1545911095"/>
                    </a:ext>
                  </a:extLst>
                </a:gridCol>
                <a:gridCol w="2377440">
                  <a:extLst>
                    <a:ext uri="{9D8B030D-6E8A-4147-A177-3AD203B41FA5}">
                      <a16:colId xmlns:a16="http://schemas.microsoft.com/office/drawing/2014/main" val="3211828645"/>
                    </a:ext>
                  </a:extLst>
                </a:gridCol>
                <a:gridCol w="2377440">
                  <a:extLst>
                    <a:ext uri="{9D8B030D-6E8A-4147-A177-3AD203B41FA5}">
                      <a16:colId xmlns:a16="http://schemas.microsoft.com/office/drawing/2014/main" val="4220499722"/>
                    </a:ext>
                  </a:extLst>
                </a:gridCol>
                <a:gridCol w="2377440">
                  <a:extLst>
                    <a:ext uri="{9D8B030D-6E8A-4147-A177-3AD203B41FA5}">
                      <a16:colId xmlns:a16="http://schemas.microsoft.com/office/drawing/2014/main" val="393185728"/>
                    </a:ext>
                  </a:extLst>
                </a:gridCol>
                <a:gridCol w="2377440">
                  <a:extLst>
                    <a:ext uri="{9D8B030D-6E8A-4147-A177-3AD203B41FA5}">
                      <a16:colId xmlns:a16="http://schemas.microsoft.com/office/drawing/2014/main" val="2863934245"/>
                    </a:ext>
                  </a:extLst>
                </a:gridCol>
              </a:tblGrid>
              <a:tr h="640080">
                <a:tc>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2000" kern="1200" dirty="0">
                          <a:solidFill>
                            <a:schemeClr val="bg1"/>
                          </a:solidFill>
                          <a:latin typeface="+mn-lt"/>
                          <a:ea typeface="+mn-ea"/>
                          <a:cs typeface="+mn-cs"/>
                        </a:rPr>
                        <a:t>PSTN Conferencing</a:t>
                      </a:r>
                    </a:p>
                  </a:txBody>
                  <a:tcPr anchor="ctr">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hMerge="1">
                  <a:txBody>
                    <a:bodyPr/>
                    <a:lstStyle/>
                    <a:p>
                      <a:pPr algn="ctr"/>
                      <a:endParaRPr lang="en-US" sz="1200" dirty="0">
                        <a:solidFill>
                          <a:schemeClr val="bg1"/>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gridSpan="2">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lang="en-US" sz="2000" kern="1200" dirty="0">
                          <a:solidFill>
                            <a:schemeClr val="bg1"/>
                          </a:solidFill>
                          <a:latin typeface="+mn-lt"/>
                          <a:ea typeface="+mn-ea"/>
                          <a:cs typeface="+mn-cs"/>
                        </a:rPr>
                        <a:t>PSTN Calling</a:t>
                      </a:r>
                    </a:p>
                  </a:txBody>
                  <a:tcPr anchor="ctr">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hMerge="1">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mn-lt"/>
                        <a:ea typeface="+mn-ea"/>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457479315"/>
                  </a:ext>
                </a:extLst>
              </a:tr>
              <a:tr h="365760">
                <a:tc>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algn="ctr"/>
                      <a:r>
                        <a:rPr lang="en-US" sz="1200" dirty="0">
                          <a:solidFill>
                            <a:schemeClr val="bg1"/>
                          </a:solidFill>
                        </a:rPr>
                        <a:t>Included Dial Out Countrie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algn="ctr"/>
                      <a:r>
                        <a:rPr lang="en-US" sz="1200" dirty="0">
                          <a:solidFill>
                            <a:schemeClr val="bg1"/>
                          </a:solidFill>
                        </a:rPr>
                        <a:t>Pay as you Go Dial Out Countries</a:t>
                      </a:r>
                    </a:p>
                  </a:txBody>
                  <a:tcPr anchor="ctr">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algn="ctr" defTabSz="1087869" rtl="0" eaLnBrk="1" latinLnBrk="0" hangingPunct="1"/>
                      <a:r>
                        <a:rPr lang="en-US" sz="1200" kern="1200" dirty="0">
                          <a:solidFill>
                            <a:schemeClr val="bg1"/>
                          </a:solidFill>
                          <a:latin typeface="+mn-lt"/>
                          <a:ea typeface="+mn-ea"/>
                          <a:cs typeface="+mn-cs"/>
                        </a:rPr>
                        <a:t>Domestic Plan</a:t>
                      </a:r>
                    </a:p>
                    <a:p>
                      <a:pPr marL="0" algn="ctr" defTabSz="1087869" rtl="0" eaLnBrk="1" latinLnBrk="0" hangingPunct="1"/>
                      <a:r>
                        <a:rPr lang="en-US" sz="1200" kern="1200" dirty="0">
                          <a:solidFill>
                            <a:schemeClr val="bg1"/>
                          </a:solidFill>
                          <a:latin typeface="+mn-lt"/>
                          <a:ea typeface="+mn-ea"/>
                          <a:cs typeface="+mn-cs"/>
                        </a:rPr>
                        <a:t>$12 u/m</a:t>
                      </a:r>
                    </a:p>
                  </a:txBody>
                  <a:tcPr>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Domestic + International Plan</a:t>
                      </a:r>
                    </a:p>
                    <a:p>
                      <a:pPr marL="0" marR="0" lvl="0" indent="0" algn="ctr" defTabSz="108786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24 u/m</a:t>
                      </a: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104564816"/>
                  </a:ext>
                </a:extLst>
              </a:tr>
              <a:tr h="1005840">
                <a:tc>
                  <a:txBody>
                    <a:bodyPr/>
                    <a:lstStyle/>
                    <a:p>
                      <a:pPr algn="ctr"/>
                      <a:r>
                        <a:rPr lang="en-US" sz="1800" kern="1200" dirty="0">
                          <a:solidFill>
                            <a:schemeClr val="bg1"/>
                          </a:solidFill>
                          <a:latin typeface="+mn-lt"/>
                          <a:ea typeface="+mn-ea"/>
                          <a:cs typeface="+mn-cs"/>
                        </a:rPr>
                        <a:t>Included in </a:t>
                      </a:r>
                      <a:br>
                        <a:rPr lang="en-US" sz="1800" kern="1200" dirty="0">
                          <a:solidFill>
                            <a:schemeClr val="bg1"/>
                          </a:solidFill>
                          <a:latin typeface="+mn-lt"/>
                          <a:ea typeface="+mn-ea"/>
                          <a:cs typeface="+mn-cs"/>
                        </a:rPr>
                      </a:br>
                      <a:r>
                        <a:rPr lang="en-US" sz="1800" kern="1200" dirty="0">
                          <a:solidFill>
                            <a:schemeClr val="bg1"/>
                          </a:solidFill>
                          <a:latin typeface="+mn-lt"/>
                          <a:ea typeface="+mn-ea"/>
                          <a:cs typeface="+mn-cs"/>
                        </a:rPr>
                        <a:t>Service Pla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bound Conferencing</a:t>
                      </a:r>
                    </a:p>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Domestic Dial Out Conferencing</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bound Conferencing</a:t>
                      </a:r>
                    </a:p>
                    <a:p>
                      <a:pPr marL="0" marR="0" lvl="0" indent="0" algn="l"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endPar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endParaRPr>
                    </a:p>
                  </a:txBody>
                  <a:tcPr marT="137160" marB="137160">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In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Domestic outbound calling*</a:t>
                      </a:r>
                    </a:p>
                  </a:txBody>
                  <a:tcPr marT="137160" marB="137160">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In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Domestic out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ternational</a:t>
                      </a:r>
                      <a:r>
                        <a:rPr kumimoji="0" lang="en-US" sz="1200" b="0" i="0" u="none" strike="noStrike" kern="900" cap="none" spc="0" normalizeH="0" baseline="0" noProof="0" dirty="0">
                          <a:ln w="3175">
                            <a:noFill/>
                          </a:ln>
                          <a:solidFill>
                            <a:srgbClr val="797A7D"/>
                          </a:solidFill>
                          <a:effectLst/>
                          <a:uLnTx/>
                          <a:uFillTx/>
                          <a:cs typeface="Segoe UI" panose="020B0502040204020203" pitchFamily="34" charset="0"/>
                        </a:rPr>
                        <a:t> outbound calling*</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329692888"/>
                  </a:ext>
                </a:extLst>
              </a:tr>
              <a:tr h="1005840">
                <a:tc>
                  <a:txBody>
                    <a:bodyPr/>
                    <a:lstStyle/>
                    <a:p>
                      <a:pPr algn="ctr"/>
                      <a:r>
                        <a:rPr lang="en-US" sz="1800" kern="1200" dirty="0">
                          <a:solidFill>
                            <a:schemeClr val="bg1"/>
                          </a:solidFill>
                          <a:latin typeface="+mn-lt"/>
                          <a:ea typeface="+mn-ea"/>
                          <a:cs typeface="+mn-cs"/>
                        </a:rPr>
                        <a:t>PSTN Consumption Required</a:t>
                      </a:r>
                      <a:br>
                        <a:rPr lang="en-US" sz="1800" kern="1200" dirty="0">
                          <a:solidFill>
                            <a:schemeClr val="bg1"/>
                          </a:solidFill>
                          <a:latin typeface="+mn-lt"/>
                          <a:ea typeface="+mn-ea"/>
                          <a:cs typeface="+mn-cs"/>
                        </a:rPr>
                      </a:br>
                      <a:r>
                        <a:rPr lang="en-US" sz="1050" kern="1200" dirty="0">
                          <a:solidFill>
                            <a:schemeClr val="bg1"/>
                          </a:solidFill>
                          <a:latin typeface="+mn-lt"/>
                          <a:ea typeface="+mn-ea"/>
                          <a:cs typeface="+mn-cs"/>
                        </a:rPr>
                        <a:t>(per minute usage)</a:t>
                      </a:r>
                      <a:endParaRPr lang="en-US" sz="1800" kern="1200" dirty="0">
                        <a:solidFill>
                          <a:schemeClr val="bg1"/>
                        </a:solidFill>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Toll Free Dial-in Conferencing</a:t>
                      </a:r>
                    </a:p>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ternational Dial Out Conferencing</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Toll Free Dial In Conferencing</a:t>
                      </a:r>
                    </a:p>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Domestic Dial Out Conferencing</a:t>
                      </a:r>
                    </a:p>
                    <a:p>
                      <a:pPr marL="0" marR="0" lvl="0" indent="0" defTabSz="913653" rtl="0"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ternational Dial Out Conferencing</a:t>
                      </a:r>
                    </a:p>
                  </a:txBody>
                  <a:tcPr marT="137160" marB="137160">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International outbound calling</a:t>
                      </a:r>
                    </a:p>
                    <a:p>
                      <a:pPr marL="0" marR="0" lvl="0" indent="0" defTabSz="913653" eaLnBrk="1" fontAlgn="base" latinLnBrk="0" hangingPunct="1">
                        <a:lnSpc>
                          <a:spcPct val="100000"/>
                        </a:lnSpc>
                        <a:spcBef>
                          <a:spcPts val="300"/>
                        </a:spcBef>
                        <a:spcAft>
                          <a:spcPts val="30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Excessive usage**</a:t>
                      </a:r>
                      <a:endParaRPr kumimoji="0" lang="en-US" sz="1200" b="0" i="0" u="none" strike="noStrike" kern="900" cap="none" spc="0" normalizeH="0" baseline="0" dirty="0">
                        <a:ln w="3175">
                          <a:noFill/>
                        </a:ln>
                        <a:solidFill>
                          <a:srgbClr val="797A7D"/>
                        </a:solidFill>
                        <a:effectLst/>
                        <a:uLnTx/>
                        <a:uFillTx/>
                        <a:latin typeface="+mn-lt"/>
                        <a:ea typeface="+mn-ea"/>
                        <a:cs typeface="Segoe UI" panose="020B0502040204020203" pitchFamily="34" charset="0"/>
                      </a:endParaRPr>
                    </a:p>
                  </a:txBody>
                  <a:tcPr marT="137160" marB="137160">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Excessive usage**</a:t>
                      </a:r>
                      <a:endParaRPr kumimoji="0" lang="en-US" sz="1200" b="0" i="0" u="none" strike="noStrike" kern="900" cap="none" spc="0" normalizeH="0" baseline="0" dirty="0">
                        <a:ln w="3175">
                          <a:noFill/>
                        </a:ln>
                        <a:solidFill>
                          <a:srgbClr val="797A7D"/>
                        </a:solidFill>
                        <a:effectLst/>
                        <a:uLnTx/>
                        <a:uFillTx/>
                        <a:latin typeface="+mn-lt"/>
                        <a:ea typeface="+mn-ea"/>
                        <a:cs typeface="Segoe UI" panose="020B0502040204020203" pitchFamily="34" charset="0"/>
                      </a:endParaRP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533846471"/>
                  </a:ext>
                </a:extLst>
              </a:tr>
              <a:tr h="1005840">
                <a:tc>
                  <a:txBody>
                    <a:bodyPr/>
                    <a:lstStyle/>
                    <a:p>
                      <a:pPr algn="ctr"/>
                      <a:r>
                        <a:rPr lang="en-US" sz="1800" kern="1200" dirty="0">
                          <a:solidFill>
                            <a:schemeClr val="bg1"/>
                          </a:solidFill>
                          <a:latin typeface="+mn-lt"/>
                          <a:ea typeface="+mn-ea"/>
                          <a:cs typeface="+mn-cs"/>
                        </a:rPr>
                        <a:t>Consumption Scenario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75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A user dials out to a user in a different country - usage charged by the minute</a:t>
                      </a:r>
                    </a:p>
                  </a:txBody>
                  <a:tcPr marT="137160" marB="137160">
                    <a:lnL w="12700" cap="flat" cmpd="sng" algn="ctr">
                      <a:solidFill>
                        <a:schemeClr val="bg1">
                          <a:lumMod val="95000"/>
                        </a:schemeClr>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A user dials out to a user in a different country or their own country - usage charged by the minute</a:t>
                      </a:r>
                    </a:p>
                    <a:p>
                      <a:pPr marL="0" marR="0" lvl="0" indent="0" algn="l" defTabSz="1087869" rtl="0" eaLnBrk="1" fontAlgn="auto" latinLnBrk="0" hangingPunct="1">
                        <a:lnSpc>
                          <a:spcPct val="100000"/>
                        </a:lnSpc>
                        <a:spcBef>
                          <a:spcPts val="0"/>
                        </a:spcBef>
                        <a:spcAft>
                          <a:spcPts val="0"/>
                        </a:spcAft>
                        <a:buClrTx/>
                        <a:buSzTx/>
                        <a:buFontTx/>
                        <a:buNone/>
                        <a:tabLst/>
                        <a:defRPr/>
                      </a:pPr>
                      <a:endPar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endParaRPr>
                    </a:p>
                  </a:txBody>
                  <a:tcPr marT="137160" marB="13716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A user needs to call an international number.  They can use PSTN Consumption to pay per minute</a:t>
                      </a:r>
                    </a:p>
                  </a:txBody>
                  <a:tcPr marT="137160" marB="137160">
                    <a:lnL w="28575" cap="flat" cmpd="sng" algn="ctr">
                      <a:solidFill>
                        <a:schemeClr val="bg1"/>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tc>
                  <a:txBody>
                    <a:bodyPr/>
                    <a:lstStyle/>
                    <a:p>
                      <a:pPr marL="0" marR="0" lvl="0" indent="0" algn="l" defTabSz="1087869" rtl="0" eaLnBrk="1" fontAlgn="auto" latinLnBrk="0" hangingPunct="1">
                        <a:lnSpc>
                          <a:spcPct val="100000"/>
                        </a:lnSpc>
                        <a:spcBef>
                          <a:spcPts val="0"/>
                        </a:spcBef>
                        <a:spcAft>
                          <a:spcPts val="0"/>
                        </a:spcAft>
                        <a:buClrTx/>
                        <a:buSzTx/>
                        <a:buFontTx/>
                        <a:buNone/>
                        <a:tabLst/>
                        <a:defRPr/>
                      </a:pPr>
                      <a:r>
                        <a:rPr kumimoji="0" lang="en-US" sz="1100" b="0" i="0" u="none" strike="noStrike" kern="900" cap="none" spc="0" normalizeH="0" baseline="0" noProof="0" dirty="0">
                          <a:ln w="3175">
                            <a:noFill/>
                          </a:ln>
                          <a:solidFill>
                            <a:srgbClr val="797A7D"/>
                          </a:solidFill>
                          <a:effectLst/>
                          <a:uLnTx/>
                          <a:uFillTx/>
                          <a:latin typeface="+mn-lt"/>
                          <a:ea typeface="+mn-ea"/>
                          <a:cs typeface="Segoe UI" panose="020B0502040204020203" pitchFamily="34" charset="0"/>
                        </a:rPr>
                        <a:t>Customer reaches either minute limit but needs to make more Domestic or International calls.  All overages charged by the minute.</a:t>
                      </a:r>
                    </a:p>
                  </a:txBody>
                  <a:tcPr marT="137160" marB="137160">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473008421"/>
                  </a:ext>
                </a:extLst>
              </a:tr>
            </a:tbl>
          </a:graphicData>
        </a:graphic>
      </p:graphicFrame>
      <p:sp>
        <p:nvSpPr>
          <p:cNvPr id="7" name="Rectangle 6"/>
          <p:cNvSpPr/>
          <p:nvPr/>
        </p:nvSpPr>
        <p:spPr>
          <a:xfrm>
            <a:off x="288682" y="151004"/>
            <a:ext cx="10634706" cy="541174"/>
          </a:xfrm>
          <a:prstGeom prst="rect">
            <a:avLst/>
          </a:prstGeom>
        </p:spPr>
        <p:txBody>
          <a:bodyPr wrap="none">
            <a:spAutoFit/>
          </a:bodyPr>
          <a:lstStyle/>
          <a:p>
            <a:pPr lvl="0" defTabSz="913775">
              <a:lnSpc>
                <a:spcPts val="3499"/>
              </a:lnSpc>
              <a:spcBef>
                <a:spcPct val="0"/>
              </a:spcBef>
              <a:defRPr/>
            </a:pPr>
            <a:r>
              <a:rPr lang="en-US" sz="3200" b="1" kern="900" spc="294" dirty="0">
                <a:solidFill>
                  <a:schemeClr val="accent1"/>
                </a:solidFill>
              </a:rPr>
              <a:t>PSTN SERVICE PLANS OVERVIEW POST 2/1/17</a:t>
            </a:r>
            <a:endParaRPr kumimoji="0" lang="en-US" sz="3200" b="1" i="0" u="none" strike="noStrike" kern="900" cap="none" spc="294" normalizeH="0" baseline="0" noProof="0" dirty="0">
              <a:ln w="3175">
                <a:noFill/>
              </a:ln>
              <a:solidFill>
                <a:srgbClr val="DC3C00"/>
              </a:solidFill>
              <a:effectLst/>
              <a:uLnTx/>
              <a:uFillTx/>
              <a:latin typeface="Segoe UI"/>
              <a:cs typeface="Arial" charset="0"/>
            </a:endParaRPr>
          </a:p>
        </p:txBody>
      </p:sp>
      <p:sp>
        <p:nvSpPr>
          <p:cNvPr id="8" name="TextBox 7"/>
          <p:cNvSpPr txBox="1"/>
          <p:nvPr/>
        </p:nvSpPr>
        <p:spPr>
          <a:xfrm>
            <a:off x="6690578" y="6456983"/>
            <a:ext cx="5400782" cy="297041"/>
          </a:xfrm>
          <a:prstGeom prst="rect">
            <a:avLst/>
          </a:prstGeom>
          <a:noFill/>
          <a:ln>
            <a:solidFill>
              <a:schemeClr val="accent1"/>
            </a:solidFill>
          </a:ln>
        </p:spPr>
        <p:txBody>
          <a:bodyPr wrap="square" lIns="91440" tIns="91440" rIns="91440" bIns="91440" rtlCol="0" anchor="ctr">
            <a:noAutofit/>
          </a:bodyPr>
          <a:lstStyle/>
          <a:p>
            <a:pPr algn="ctr"/>
            <a:r>
              <a:rPr lang="en-US" sz="1000" kern="0" dirty="0">
                <a:gradFill>
                  <a:gsLst>
                    <a:gs pos="2917">
                      <a:srgbClr val="505050"/>
                    </a:gs>
                    <a:gs pos="30000">
                      <a:srgbClr val="505050"/>
                    </a:gs>
                  </a:gsLst>
                  <a:lin ang="5400000" scaled="0"/>
                </a:gradFill>
              </a:rPr>
              <a:t>For more details on PSTN Services, see the </a:t>
            </a:r>
            <a:r>
              <a:rPr lang="en-US" sz="1000" kern="0" dirty="0">
                <a:solidFill>
                  <a:sysClr val="windowText" lastClr="000000"/>
                </a:solidFill>
                <a:hlinkClick r:id="rId3"/>
              </a:rPr>
              <a:t>Skype for Business PSTN Services Overview </a:t>
            </a:r>
            <a:r>
              <a:rPr lang="en-US" sz="1000" kern="0" dirty="0">
                <a:gradFill>
                  <a:gsLst>
                    <a:gs pos="2917">
                      <a:srgbClr val="505050"/>
                    </a:gs>
                    <a:gs pos="30000">
                      <a:srgbClr val="505050"/>
                    </a:gs>
                  </a:gsLst>
                  <a:lin ang="5400000" scaled="0"/>
                </a:gradFill>
              </a:rPr>
              <a:t>deck</a:t>
            </a:r>
          </a:p>
        </p:txBody>
      </p:sp>
    </p:spTree>
    <p:extLst>
      <p:ext uri="{BB962C8B-B14F-4D97-AF65-F5344CB8AC3E}">
        <p14:creationId xmlns:p14="http://schemas.microsoft.com/office/powerpoint/2010/main" val="203090475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extLst>
              <p:ext uri="{D42A27DB-BD31-4B8C-83A1-F6EECF244321}">
                <p14:modId xmlns:p14="http://schemas.microsoft.com/office/powerpoint/2010/main" val="4127587777"/>
              </p:ext>
            </p:extLst>
          </p:nvPr>
        </p:nvGraphicFramePr>
        <p:xfrm>
          <a:off x="1165978" y="2116062"/>
          <a:ext cx="9860041" cy="4522302"/>
        </p:xfrm>
        <a:graphic>
          <a:graphicData uri="http://schemas.openxmlformats.org/drawingml/2006/table">
            <a:tbl>
              <a:tblPr firstRow="1" bandRow="1"/>
              <a:tblGrid>
                <a:gridCol w="4870077">
                  <a:extLst>
                    <a:ext uri="{9D8B030D-6E8A-4147-A177-3AD203B41FA5}">
                      <a16:colId xmlns:a16="http://schemas.microsoft.com/office/drawing/2014/main" val="20000"/>
                    </a:ext>
                  </a:extLst>
                </a:gridCol>
                <a:gridCol w="4989964">
                  <a:extLst>
                    <a:ext uri="{9D8B030D-6E8A-4147-A177-3AD203B41FA5}">
                      <a16:colId xmlns:a16="http://schemas.microsoft.com/office/drawing/2014/main" val="20002"/>
                    </a:ext>
                  </a:extLst>
                </a:gridCol>
              </a:tblGrid>
              <a:tr h="640080">
                <a:tc gridSpan="2">
                  <a:txBody>
                    <a:bodyPr/>
                    <a:lstStyle>
                      <a:lvl1pPr marL="0" algn="l" defTabSz="914363" rtl="0" eaLnBrk="1" latinLnBrk="0" hangingPunct="1">
                        <a:defRPr sz="1800" kern="1200">
                          <a:solidFill>
                            <a:schemeClr val="tx1"/>
                          </a:solidFill>
                          <a:latin typeface="Segoe UI"/>
                        </a:defRPr>
                      </a:lvl1pPr>
                      <a:lvl2pPr marL="457182" algn="l" defTabSz="914363" rtl="0" eaLnBrk="1" latinLnBrk="0" hangingPunct="1">
                        <a:defRPr sz="1800" kern="1200">
                          <a:solidFill>
                            <a:schemeClr val="tx1"/>
                          </a:solidFill>
                          <a:latin typeface="Segoe UI"/>
                        </a:defRPr>
                      </a:lvl2pPr>
                      <a:lvl3pPr marL="914363" algn="l" defTabSz="914363" rtl="0" eaLnBrk="1" latinLnBrk="0" hangingPunct="1">
                        <a:defRPr sz="1800" kern="1200">
                          <a:solidFill>
                            <a:schemeClr val="tx1"/>
                          </a:solidFill>
                          <a:latin typeface="Segoe UI"/>
                        </a:defRPr>
                      </a:lvl3pPr>
                      <a:lvl4pPr marL="1371545" algn="l" defTabSz="914363" rtl="0" eaLnBrk="1" latinLnBrk="0" hangingPunct="1">
                        <a:defRPr sz="1800" kern="1200">
                          <a:solidFill>
                            <a:schemeClr val="tx1"/>
                          </a:solidFill>
                          <a:latin typeface="Segoe UI"/>
                        </a:defRPr>
                      </a:lvl4pPr>
                      <a:lvl5pPr marL="1828727" algn="l" defTabSz="914363" rtl="0" eaLnBrk="1" latinLnBrk="0" hangingPunct="1">
                        <a:defRPr sz="1800" kern="1200">
                          <a:solidFill>
                            <a:schemeClr val="tx1"/>
                          </a:solidFill>
                          <a:latin typeface="Segoe UI"/>
                        </a:defRPr>
                      </a:lvl5pPr>
                      <a:lvl6pPr marL="2285909" algn="l" defTabSz="914363" rtl="0" eaLnBrk="1" latinLnBrk="0" hangingPunct="1">
                        <a:defRPr sz="1800" kern="1200">
                          <a:solidFill>
                            <a:schemeClr val="tx1"/>
                          </a:solidFill>
                          <a:latin typeface="Segoe UI"/>
                        </a:defRPr>
                      </a:lvl6pPr>
                      <a:lvl7pPr marL="2743090" algn="l" defTabSz="914363" rtl="0" eaLnBrk="1" latinLnBrk="0" hangingPunct="1">
                        <a:defRPr sz="1800" kern="1200">
                          <a:solidFill>
                            <a:schemeClr val="tx1"/>
                          </a:solidFill>
                          <a:latin typeface="Segoe UI"/>
                        </a:defRPr>
                      </a:lvl7pPr>
                      <a:lvl8pPr marL="3200272" algn="l" defTabSz="914363" rtl="0" eaLnBrk="1" latinLnBrk="0" hangingPunct="1">
                        <a:defRPr sz="1800" kern="1200">
                          <a:solidFill>
                            <a:schemeClr val="tx1"/>
                          </a:solidFill>
                          <a:latin typeface="Segoe UI"/>
                        </a:defRPr>
                      </a:lvl8pPr>
                      <a:lvl9pPr marL="3657454" algn="l" defTabSz="914363" rtl="0" eaLnBrk="1" latinLnBrk="0" hangingPunct="1">
                        <a:defRPr sz="1800" kern="1200">
                          <a:solidFill>
                            <a:schemeClr val="tx1"/>
                          </a:solidFill>
                          <a:latin typeface="Segoe UI"/>
                        </a:defRPr>
                      </a:lvl9pPr>
                    </a:lstStyle>
                    <a:p>
                      <a:pPr marL="0" algn="ctr" defTabSz="932111" rtl="0" eaLnBrk="1" fontAlgn="base" latinLnBrk="0" hangingPunct="1">
                        <a:spcBef>
                          <a:spcPct val="0"/>
                        </a:spcBef>
                        <a:spcAft>
                          <a:spcPct val="0"/>
                        </a:spcAft>
                      </a:pPr>
                      <a:r>
                        <a:rPr lang="en-US" sz="2000" kern="0" dirty="0">
                          <a:gradFill>
                            <a:gsLst>
                              <a:gs pos="0">
                                <a:srgbClr val="FFFFFF"/>
                              </a:gs>
                              <a:gs pos="100000">
                                <a:srgbClr val="FFFFFF"/>
                              </a:gs>
                            </a:gsLst>
                            <a:lin ang="5400000" scaled="0"/>
                          </a:gradFill>
                          <a:latin typeface="+mn-lt"/>
                          <a:ea typeface="Segoe UI" pitchFamily="34" charset="0"/>
                          <a:cs typeface="Segoe UI" pitchFamily="34" charset="0"/>
                        </a:rPr>
                        <a:t>Percentage breakout of PSTN Conferencing portion of bundled offers</a:t>
                      </a:r>
                    </a:p>
                  </a:txBody>
                  <a:tcPr marT="45713" marB="4571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797A7D">
                        <a:lumMod val="50000"/>
                      </a:srgbClr>
                    </a:solidFill>
                  </a:tcPr>
                </a:tc>
                <a:tc hMerge="1">
                  <a:txBody>
                    <a:bodyPr/>
                    <a:lstStyle/>
                    <a:p>
                      <a:pPr marL="0" algn="ctr" defTabSz="932111" rtl="0" eaLnBrk="1" fontAlgn="base" latinLnBrk="0" hangingPunct="1">
                        <a:spcBef>
                          <a:spcPct val="0"/>
                        </a:spcBef>
                        <a:spcAft>
                          <a:spcPct val="0"/>
                        </a:spcAft>
                      </a:pPr>
                      <a:endParaRPr lang="en-US" sz="14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T="45713" marB="45713"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97A7D">
                        <a:lumMod val="50000"/>
                      </a:srgbClr>
                    </a:solidFill>
                  </a:tcPr>
                </a:tc>
                <a:extLst>
                  <a:ext uri="{0D108BD9-81ED-4DB2-BD59-A6C34878D82A}">
                    <a16:rowId xmlns:a16="http://schemas.microsoft.com/office/drawing/2014/main" val="147162872"/>
                  </a:ext>
                </a:extLst>
              </a:tr>
              <a:tr h="64008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0" algn="ctr" defTabSz="932111" rtl="0" eaLnBrk="1" fontAlgn="base" latinLnBrk="0" hangingPunct="1">
                        <a:spcBef>
                          <a:spcPct val="0"/>
                        </a:spcBef>
                        <a:spcAft>
                          <a:spcPct val="0"/>
                        </a:spcAft>
                      </a:pPr>
                      <a:r>
                        <a:rPr lang="en-US" sz="2000" kern="0" dirty="0">
                          <a:gradFill>
                            <a:gsLst>
                              <a:gs pos="0">
                                <a:srgbClr val="FFFFFF"/>
                              </a:gs>
                              <a:gs pos="100000">
                                <a:srgbClr val="FFFFFF"/>
                              </a:gs>
                            </a:gsLst>
                            <a:lin ang="5400000" scaled="0"/>
                          </a:gradFill>
                          <a:latin typeface="+mn-lt"/>
                          <a:ea typeface="Segoe UI" pitchFamily="34" charset="0"/>
                          <a:cs typeface="Segoe UI" pitchFamily="34" charset="0"/>
                        </a:rPr>
                        <a:t>Impacted</a:t>
                      </a:r>
                      <a:r>
                        <a:rPr lang="en-US" sz="2000" kern="0" baseline="0" dirty="0">
                          <a:gradFill>
                            <a:gsLst>
                              <a:gs pos="0">
                                <a:srgbClr val="FFFFFF"/>
                              </a:gs>
                              <a:gs pos="100000">
                                <a:srgbClr val="FFFFFF"/>
                              </a:gs>
                            </a:gsLst>
                            <a:lin ang="5400000" scaled="0"/>
                          </a:gradFill>
                          <a:latin typeface="+mn-lt"/>
                          <a:ea typeface="Segoe UI" pitchFamily="34" charset="0"/>
                          <a:cs typeface="Segoe UI" pitchFamily="34" charset="0"/>
                        </a:rPr>
                        <a:t> SKUs with</a:t>
                      </a:r>
                      <a:br>
                        <a:rPr lang="en-US" sz="2000" kern="0" baseline="0" dirty="0">
                          <a:gradFill>
                            <a:gsLst>
                              <a:gs pos="0">
                                <a:srgbClr val="FFFFFF"/>
                              </a:gs>
                              <a:gs pos="100000">
                                <a:srgbClr val="FFFFFF"/>
                              </a:gs>
                            </a:gsLst>
                            <a:lin ang="5400000" scaled="0"/>
                          </a:gradFill>
                          <a:latin typeface="+mn-lt"/>
                          <a:ea typeface="Segoe UI" pitchFamily="34" charset="0"/>
                          <a:cs typeface="Segoe UI" pitchFamily="34" charset="0"/>
                        </a:rPr>
                      </a:br>
                      <a:r>
                        <a:rPr lang="en-US" sz="2000" kern="0" baseline="0" dirty="0">
                          <a:gradFill>
                            <a:gsLst>
                              <a:gs pos="0">
                                <a:srgbClr val="FFFFFF"/>
                              </a:gs>
                              <a:gs pos="100000">
                                <a:srgbClr val="FFFFFF"/>
                              </a:gs>
                            </a:gsLst>
                            <a:lin ang="5400000" scaled="0"/>
                          </a:gradFill>
                          <a:latin typeface="+mn-lt"/>
                          <a:ea typeface="Segoe UI" pitchFamily="34" charset="0"/>
                          <a:cs typeface="Segoe UI" pitchFamily="34" charset="0"/>
                        </a:rPr>
                        <a:t>PSTN Conferencing</a:t>
                      </a:r>
                      <a:endParaRPr lang="en-US" sz="20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T="45713" marB="45713" anchor="ctr">
                    <a:lnL w="28575" cap="flat" cmpd="sng" algn="ctr">
                      <a:noFill/>
                      <a:prstDash val="solid"/>
                      <a:round/>
                      <a:headEnd type="none" w="med" len="med"/>
                      <a:tailEnd type="none" w="med" len="med"/>
                    </a:lnL>
                    <a:lnR w="12700" cap="flat" cmpd="sng" algn="ctr">
                      <a:solidFill>
                        <a:srgbClr val="FBFBFB"/>
                      </a:solidFill>
                      <a:prstDash val="solid"/>
                      <a:round/>
                      <a:headEnd type="none" w="med" len="med"/>
                      <a:tailEnd type="none" w="med" len="med"/>
                    </a:lnR>
                    <a:lnT w="28575"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DC3C00"/>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0" algn="ctr" defTabSz="932111" rtl="0" eaLnBrk="1" fontAlgn="base" latinLnBrk="0" hangingPunct="1">
                        <a:spcBef>
                          <a:spcPct val="0"/>
                        </a:spcBef>
                        <a:spcAft>
                          <a:spcPct val="0"/>
                        </a:spcAft>
                      </a:pPr>
                      <a:r>
                        <a:rPr lang="en-US" sz="2000" kern="0" baseline="0" dirty="0">
                          <a:gradFill>
                            <a:gsLst>
                              <a:gs pos="0">
                                <a:srgbClr val="FFFFFF"/>
                              </a:gs>
                              <a:gs pos="100000">
                                <a:srgbClr val="FFFFFF"/>
                              </a:gs>
                            </a:gsLst>
                            <a:lin ang="5400000" scaled="0"/>
                          </a:gradFill>
                          <a:latin typeface="+mn-lt"/>
                          <a:ea typeface="Segoe UI" pitchFamily="34" charset="0"/>
                          <a:cs typeface="Segoe UI" pitchFamily="34" charset="0"/>
                        </a:rPr>
                        <a:t>% Invoice Breakout </a:t>
                      </a:r>
                      <a:br>
                        <a:rPr lang="en-US" sz="2000" kern="0" baseline="0" dirty="0">
                          <a:gradFill>
                            <a:gsLst>
                              <a:gs pos="0">
                                <a:srgbClr val="FFFFFF"/>
                              </a:gs>
                              <a:gs pos="100000">
                                <a:srgbClr val="FFFFFF"/>
                              </a:gs>
                            </a:gsLst>
                            <a:lin ang="5400000" scaled="0"/>
                          </a:gradFill>
                          <a:latin typeface="+mn-lt"/>
                          <a:ea typeface="Segoe UI" pitchFamily="34" charset="0"/>
                          <a:cs typeface="Segoe UI" pitchFamily="34" charset="0"/>
                        </a:rPr>
                      </a:br>
                      <a:r>
                        <a:rPr lang="en-US" sz="2000" kern="0" baseline="0" dirty="0">
                          <a:gradFill>
                            <a:gsLst>
                              <a:gs pos="0">
                                <a:srgbClr val="FFFFFF"/>
                              </a:gs>
                              <a:gs pos="100000">
                                <a:srgbClr val="FFFFFF"/>
                              </a:gs>
                            </a:gsLst>
                            <a:lin ang="5400000" scaled="0"/>
                          </a:gradFill>
                          <a:latin typeface="+mn-lt"/>
                          <a:ea typeface="Segoe UI" pitchFamily="34" charset="0"/>
                          <a:cs typeface="Segoe UI" pitchFamily="34" charset="0"/>
                        </a:rPr>
                        <a:t>for PSTN Conferencing</a:t>
                      </a:r>
                      <a:endParaRPr lang="en-US" sz="1200" kern="0" dirty="0">
                        <a:gradFill>
                          <a:gsLst>
                            <a:gs pos="0">
                              <a:srgbClr val="FFFFFF"/>
                            </a:gs>
                            <a:gs pos="100000">
                              <a:srgbClr val="FFFFFF"/>
                            </a:gs>
                          </a:gsLst>
                          <a:lin ang="5400000" scaled="0"/>
                        </a:gradFill>
                        <a:latin typeface="+mn-lt"/>
                        <a:ea typeface="Segoe UI" pitchFamily="34" charset="0"/>
                        <a:cs typeface="Segoe UI" pitchFamily="34" charset="0"/>
                      </a:endParaRPr>
                    </a:p>
                  </a:txBody>
                  <a:tcPr marT="45713" marB="45713" anchor="ctr">
                    <a:lnL w="12700" cap="flat" cmpd="sng" algn="ctr">
                      <a:solidFill>
                        <a:srgbClr val="FBFBFB"/>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FBFBFB"/>
                      </a:solidFill>
                      <a:prstDash val="solid"/>
                      <a:round/>
                      <a:headEnd type="none" w="med" len="med"/>
                      <a:tailEnd type="none" w="med" len="med"/>
                    </a:lnT>
                    <a:lnB w="12700" cap="flat" cmpd="sng" algn="ctr">
                      <a:solidFill>
                        <a:srgbClr val="FBFBFB"/>
                      </a:solidFill>
                      <a:prstDash val="solid"/>
                      <a:round/>
                      <a:headEnd type="none" w="med" len="med"/>
                      <a:tailEnd type="none" w="med" len="med"/>
                    </a:lnB>
                    <a:lnTlToBr w="12700" cmpd="sng">
                      <a:noFill/>
                      <a:prstDash val="solid"/>
                    </a:lnTlToBr>
                    <a:lnBlToTr w="12700" cmpd="sng">
                      <a:noFill/>
                      <a:prstDash val="solid"/>
                    </a:lnBlToTr>
                    <a:solidFill>
                      <a:srgbClr val="DC3C00"/>
                    </a:solidFill>
                  </a:tcPr>
                </a:tc>
                <a:extLst>
                  <a:ext uri="{0D108BD9-81ED-4DB2-BD59-A6C34878D82A}">
                    <a16:rowId xmlns:a16="http://schemas.microsoft.com/office/drawing/2014/main" val="10000"/>
                  </a:ext>
                </a:extLst>
              </a:tr>
              <a:tr h="36576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91440" algn="l" rtl="0" fontAlgn="b"/>
                      <a:r>
                        <a:rPr lang="en-US" sz="1600" b="0" i="0" u="none" strike="noStrike" dirty="0">
                          <a:solidFill>
                            <a:schemeClr val="tx2"/>
                          </a:solidFill>
                          <a:effectLst/>
                          <a:latin typeface="+mn-lt"/>
                        </a:rPr>
                        <a:t>Office</a:t>
                      </a:r>
                      <a:r>
                        <a:rPr lang="en-US" sz="1600" b="0" i="0" u="none" strike="noStrike" baseline="0" dirty="0">
                          <a:solidFill>
                            <a:schemeClr val="tx2"/>
                          </a:solidFill>
                          <a:effectLst/>
                          <a:latin typeface="+mn-lt"/>
                        </a:rPr>
                        <a:t> 365 E5 USL</a:t>
                      </a:r>
                      <a:endParaRPr lang="en-US" sz="16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BFBFB"/>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algn="ctr" fontAlgn="b"/>
                      <a:r>
                        <a:rPr lang="en-US" sz="1600" b="0" i="0" u="none" strike="noStrike" dirty="0">
                          <a:solidFill>
                            <a:srgbClr val="000000"/>
                          </a:solidFill>
                          <a:effectLst/>
                          <a:latin typeface="+mn-lt"/>
                        </a:rPr>
                        <a:t>5.71%</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BFBFB"/>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36576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91440" marR="0" lvl="0" indent="0" algn="l" defTabSz="1087869"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2"/>
                          </a:solidFill>
                          <a:effectLst/>
                          <a:latin typeface="+mn-lt"/>
                        </a:rPr>
                        <a:t>Office</a:t>
                      </a:r>
                      <a:r>
                        <a:rPr lang="en-US" sz="1600" b="0" i="0" u="none" strike="noStrike" baseline="0" dirty="0">
                          <a:solidFill>
                            <a:schemeClr val="tx2"/>
                          </a:solidFill>
                          <a:effectLst/>
                          <a:latin typeface="+mn-lt"/>
                        </a:rPr>
                        <a:t> 365 E5 From SA</a:t>
                      </a:r>
                      <a:endParaRPr lang="en-US" sz="16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algn="ctr" fontAlgn="b"/>
                      <a:r>
                        <a:rPr lang="en-US" sz="1600" b="0" i="0" u="none" strike="noStrike" dirty="0">
                          <a:solidFill>
                            <a:srgbClr val="000000"/>
                          </a:solidFill>
                          <a:effectLst/>
                          <a:latin typeface="+mn-lt"/>
                        </a:rPr>
                        <a:t>5.71%</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36576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91440" marR="0" lvl="0" indent="0" algn="l" defTabSz="1087869"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2"/>
                          </a:solidFill>
                          <a:effectLst/>
                          <a:latin typeface="+mn-lt"/>
                        </a:rPr>
                        <a:t>Office</a:t>
                      </a:r>
                      <a:r>
                        <a:rPr lang="en-US" sz="1600" b="0" i="0" u="none" strike="noStrike" baseline="0" dirty="0">
                          <a:solidFill>
                            <a:schemeClr val="tx2"/>
                          </a:solidFill>
                          <a:effectLst/>
                          <a:latin typeface="+mn-lt"/>
                        </a:rPr>
                        <a:t> 365 E5 Add-Ons</a:t>
                      </a:r>
                      <a:endParaRPr lang="en-US" sz="16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algn="ctr" fontAlgn="b"/>
                      <a:r>
                        <a:rPr lang="en-US" sz="1600" b="0" i="0" u="none" strike="noStrike" dirty="0">
                          <a:solidFill>
                            <a:srgbClr val="000000"/>
                          </a:solidFill>
                          <a:effectLst/>
                          <a:latin typeface="+mn-lt"/>
                        </a:rPr>
                        <a:t>5.71%</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36576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91440" marR="0" lvl="0" indent="0" algn="l" defTabSz="1087869"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2"/>
                          </a:solidFill>
                          <a:effectLst/>
                          <a:latin typeface="+mn-lt"/>
                        </a:rPr>
                        <a:t>Office</a:t>
                      </a:r>
                      <a:r>
                        <a:rPr lang="en-US" sz="1600" b="0" i="0" u="none" strike="noStrike" baseline="0" dirty="0">
                          <a:solidFill>
                            <a:schemeClr val="tx2"/>
                          </a:solidFill>
                          <a:effectLst/>
                          <a:latin typeface="+mn-lt"/>
                        </a:rPr>
                        <a:t> 365 E5 Step Up from Office 365 E1</a:t>
                      </a:r>
                      <a:endParaRPr lang="en-US" sz="16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algn="ctr" fontAlgn="b"/>
                      <a:r>
                        <a:rPr lang="en-US" sz="1600" b="0" i="0" u="none" strike="noStrike" dirty="0">
                          <a:solidFill>
                            <a:srgbClr val="000000"/>
                          </a:solidFill>
                          <a:effectLst/>
                          <a:latin typeface="+mn-lt"/>
                        </a:rPr>
                        <a:t>7.41%</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r h="36576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91440" marR="0" lvl="0" indent="0" algn="l" defTabSz="1087869"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2"/>
                          </a:solidFill>
                          <a:effectLst/>
                          <a:latin typeface="+mn-lt"/>
                        </a:rPr>
                        <a:t>Office</a:t>
                      </a:r>
                      <a:r>
                        <a:rPr lang="en-US" sz="1600" b="0" i="0" u="none" strike="noStrike" baseline="0" dirty="0">
                          <a:solidFill>
                            <a:schemeClr val="tx2"/>
                          </a:solidFill>
                          <a:effectLst/>
                          <a:latin typeface="+mn-lt"/>
                        </a:rPr>
                        <a:t> 365 E5 Step Up from Office 365 E3</a:t>
                      </a:r>
                      <a:endParaRPr lang="en-US" sz="16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algn="ctr" fontAlgn="b"/>
                      <a:r>
                        <a:rPr lang="en-US" sz="1600" b="0" i="0" u="none" strike="noStrike" dirty="0">
                          <a:solidFill>
                            <a:srgbClr val="000000"/>
                          </a:solidFill>
                          <a:effectLst/>
                          <a:latin typeface="+mn-lt"/>
                        </a:rPr>
                        <a:t>13.33%</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36413297"/>
                  </a:ext>
                </a:extLst>
              </a:tr>
              <a:tr h="36576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91440" marR="0" lvl="0" indent="0" algn="l" defTabSz="1087869"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2"/>
                          </a:solidFill>
                          <a:effectLst/>
                          <a:latin typeface="+mn-lt"/>
                        </a:rPr>
                        <a:t>Office</a:t>
                      </a:r>
                      <a:r>
                        <a:rPr lang="en-US" sz="1600" b="0" i="0" u="none" strike="noStrike" baseline="0" dirty="0">
                          <a:solidFill>
                            <a:schemeClr val="tx2"/>
                          </a:solidFill>
                          <a:effectLst/>
                          <a:latin typeface="+mn-lt"/>
                        </a:rPr>
                        <a:t> 365 E5 Step Up from Office 365 E4</a:t>
                      </a:r>
                      <a:endParaRPr lang="en-US" sz="16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algn="ctr" fontAlgn="b"/>
                      <a:r>
                        <a:rPr lang="en-US" sz="1600" b="0" i="0" u="none" strike="noStrike" dirty="0">
                          <a:solidFill>
                            <a:srgbClr val="000000"/>
                          </a:solidFill>
                          <a:effectLst/>
                          <a:latin typeface="+mn-lt"/>
                        </a:rPr>
                        <a:t>15.38%</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3053008"/>
                  </a:ext>
                </a:extLst>
              </a:tr>
              <a:tr h="365760">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marL="91440" marR="0" lvl="0" indent="0" algn="l" defTabSz="1087869" rtl="0" eaLnBrk="1" fontAlgn="b" latinLnBrk="0" hangingPunct="1">
                        <a:lnSpc>
                          <a:spcPct val="100000"/>
                        </a:lnSpc>
                        <a:spcBef>
                          <a:spcPts val="0"/>
                        </a:spcBef>
                        <a:spcAft>
                          <a:spcPts val="0"/>
                        </a:spcAft>
                        <a:buClrTx/>
                        <a:buSzTx/>
                        <a:buFontTx/>
                        <a:buNone/>
                        <a:tabLst/>
                        <a:defRPr/>
                      </a:pPr>
                      <a:r>
                        <a:rPr lang="en-US" sz="1600" b="0" i="0" u="none" strike="noStrike" dirty="0">
                          <a:solidFill>
                            <a:schemeClr val="tx2"/>
                          </a:solidFill>
                          <a:effectLst/>
                          <a:latin typeface="+mn-lt"/>
                        </a:rPr>
                        <a:t>Secure Productive Enterprise</a:t>
                      </a:r>
                      <a:r>
                        <a:rPr lang="en-US" sz="1600" b="0" i="0" u="none" strike="noStrike" baseline="0" dirty="0">
                          <a:solidFill>
                            <a:schemeClr val="tx2"/>
                          </a:solidFill>
                          <a:effectLst/>
                          <a:latin typeface="+mn-lt"/>
                        </a:rPr>
                        <a:t> E5</a:t>
                      </a:r>
                      <a:endParaRPr lang="en-US" sz="16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lvl1pPr marL="0" algn="l" defTabSz="914052" rtl="0" eaLnBrk="1" latinLnBrk="0" hangingPunct="1">
                        <a:defRPr sz="1800" kern="1200">
                          <a:solidFill>
                            <a:schemeClr val="tx1"/>
                          </a:solidFill>
                          <a:latin typeface="Segoe UI"/>
                        </a:defRPr>
                      </a:lvl1pPr>
                      <a:lvl2pPr marL="457027" algn="l" defTabSz="914052" rtl="0" eaLnBrk="1" latinLnBrk="0" hangingPunct="1">
                        <a:defRPr sz="1800" kern="1200">
                          <a:solidFill>
                            <a:schemeClr val="tx1"/>
                          </a:solidFill>
                          <a:latin typeface="Segoe UI"/>
                        </a:defRPr>
                      </a:lvl2pPr>
                      <a:lvl3pPr marL="914052" algn="l" defTabSz="914052" rtl="0" eaLnBrk="1" latinLnBrk="0" hangingPunct="1">
                        <a:defRPr sz="1800" kern="1200">
                          <a:solidFill>
                            <a:schemeClr val="tx1"/>
                          </a:solidFill>
                          <a:latin typeface="Segoe UI"/>
                        </a:defRPr>
                      </a:lvl3pPr>
                      <a:lvl4pPr marL="1371079" algn="l" defTabSz="914052" rtl="0" eaLnBrk="1" latinLnBrk="0" hangingPunct="1">
                        <a:defRPr sz="1800" kern="1200">
                          <a:solidFill>
                            <a:schemeClr val="tx1"/>
                          </a:solidFill>
                          <a:latin typeface="Segoe UI"/>
                        </a:defRPr>
                      </a:lvl4pPr>
                      <a:lvl5pPr marL="1828106" algn="l" defTabSz="914052" rtl="0" eaLnBrk="1" latinLnBrk="0" hangingPunct="1">
                        <a:defRPr sz="1800" kern="1200">
                          <a:solidFill>
                            <a:schemeClr val="tx1"/>
                          </a:solidFill>
                          <a:latin typeface="Segoe UI"/>
                        </a:defRPr>
                      </a:lvl5pPr>
                      <a:lvl6pPr marL="2285131" algn="l" defTabSz="914052" rtl="0" eaLnBrk="1" latinLnBrk="0" hangingPunct="1">
                        <a:defRPr sz="1800" kern="1200">
                          <a:solidFill>
                            <a:schemeClr val="tx1"/>
                          </a:solidFill>
                          <a:latin typeface="Segoe UI"/>
                        </a:defRPr>
                      </a:lvl6pPr>
                      <a:lvl7pPr marL="2742157" algn="l" defTabSz="914052" rtl="0" eaLnBrk="1" latinLnBrk="0" hangingPunct="1">
                        <a:defRPr sz="1800" kern="1200">
                          <a:solidFill>
                            <a:schemeClr val="tx1"/>
                          </a:solidFill>
                          <a:latin typeface="Segoe UI"/>
                        </a:defRPr>
                      </a:lvl7pPr>
                      <a:lvl8pPr marL="3199184" algn="l" defTabSz="914052" rtl="0" eaLnBrk="1" latinLnBrk="0" hangingPunct="1">
                        <a:defRPr sz="1800" kern="1200">
                          <a:solidFill>
                            <a:schemeClr val="tx1"/>
                          </a:solidFill>
                          <a:latin typeface="Segoe UI"/>
                        </a:defRPr>
                      </a:lvl8pPr>
                      <a:lvl9pPr marL="3656210" algn="l" defTabSz="914052" rtl="0" eaLnBrk="1" latinLnBrk="0" hangingPunct="1">
                        <a:defRPr sz="1800" kern="1200">
                          <a:solidFill>
                            <a:schemeClr val="tx1"/>
                          </a:solidFill>
                          <a:latin typeface="Segoe UI"/>
                        </a:defRPr>
                      </a:lvl9pPr>
                    </a:lstStyle>
                    <a:p>
                      <a:pPr algn="ctr" fontAlgn="b"/>
                      <a:r>
                        <a:rPr lang="en-US" sz="1600" b="0" i="0" u="none" strike="noStrike" dirty="0">
                          <a:solidFill>
                            <a:srgbClr val="000000"/>
                          </a:solidFill>
                          <a:effectLst/>
                          <a:latin typeface="+mn-lt"/>
                        </a:rPr>
                        <a:t>3.51%</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746658197"/>
                  </a:ext>
                </a:extLst>
              </a:tr>
              <a:tr h="72236">
                <a:tc gridSpan="2">
                  <a:txBody>
                    <a:bodyPr/>
                    <a:lstStyle>
                      <a:lvl1pPr marL="0" algn="l" defTabSz="914363" rtl="0" eaLnBrk="1" latinLnBrk="0" hangingPunct="1">
                        <a:defRPr sz="1800" kern="1200">
                          <a:solidFill>
                            <a:schemeClr val="tx1"/>
                          </a:solidFill>
                          <a:latin typeface="Segoe UI"/>
                        </a:defRPr>
                      </a:lvl1pPr>
                      <a:lvl2pPr marL="457182" algn="l" defTabSz="914363" rtl="0" eaLnBrk="1" latinLnBrk="0" hangingPunct="1">
                        <a:defRPr sz="1800" kern="1200">
                          <a:solidFill>
                            <a:schemeClr val="tx1"/>
                          </a:solidFill>
                          <a:latin typeface="Segoe UI"/>
                        </a:defRPr>
                      </a:lvl2pPr>
                      <a:lvl3pPr marL="914363" algn="l" defTabSz="914363" rtl="0" eaLnBrk="1" latinLnBrk="0" hangingPunct="1">
                        <a:defRPr sz="1800" kern="1200">
                          <a:solidFill>
                            <a:schemeClr val="tx1"/>
                          </a:solidFill>
                          <a:latin typeface="Segoe UI"/>
                        </a:defRPr>
                      </a:lvl3pPr>
                      <a:lvl4pPr marL="1371545" algn="l" defTabSz="914363" rtl="0" eaLnBrk="1" latinLnBrk="0" hangingPunct="1">
                        <a:defRPr sz="1800" kern="1200">
                          <a:solidFill>
                            <a:schemeClr val="tx1"/>
                          </a:solidFill>
                          <a:latin typeface="Segoe UI"/>
                        </a:defRPr>
                      </a:lvl4pPr>
                      <a:lvl5pPr marL="1828727" algn="l" defTabSz="914363" rtl="0" eaLnBrk="1" latinLnBrk="0" hangingPunct="1">
                        <a:defRPr sz="1800" kern="1200">
                          <a:solidFill>
                            <a:schemeClr val="tx1"/>
                          </a:solidFill>
                          <a:latin typeface="Segoe UI"/>
                        </a:defRPr>
                      </a:lvl5pPr>
                      <a:lvl6pPr marL="2285909" algn="l" defTabSz="914363" rtl="0" eaLnBrk="1" latinLnBrk="0" hangingPunct="1">
                        <a:defRPr sz="1800" kern="1200">
                          <a:solidFill>
                            <a:schemeClr val="tx1"/>
                          </a:solidFill>
                          <a:latin typeface="Segoe UI"/>
                        </a:defRPr>
                      </a:lvl6pPr>
                      <a:lvl7pPr marL="2743090" algn="l" defTabSz="914363" rtl="0" eaLnBrk="1" latinLnBrk="0" hangingPunct="1">
                        <a:defRPr sz="1800" kern="1200">
                          <a:solidFill>
                            <a:schemeClr val="tx1"/>
                          </a:solidFill>
                          <a:latin typeface="Segoe UI"/>
                        </a:defRPr>
                      </a:lvl7pPr>
                      <a:lvl8pPr marL="3200272" algn="l" defTabSz="914363" rtl="0" eaLnBrk="1" latinLnBrk="0" hangingPunct="1">
                        <a:defRPr sz="1800" kern="1200">
                          <a:solidFill>
                            <a:schemeClr val="tx1"/>
                          </a:solidFill>
                          <a:latin typeface="Segoe UI"/>
                        </a:defRPr>
                      </a:lvl8pPr>
                      <a:lvl9pPr marL="3657454" algn="l" defTabSz="914363" rtl="0" eaLnBrk="1" latinLnBrk="0" hangingPunct="1">
                        <a:defRPr sz="1800" kern="1200">
                          <a:solidFill>
                            <a:schemeClr val="tx1"/>
                          </a:solidFill>
                          <a:latin typeface="Segoe UI"/>
                        </a:defRPr>
                      </a:lvl9pPr>
                    </a:lstStyle>
                    <a:p>
                      <a:pPr marL="91440" marR="0" lvl="0" indent="0" algn="l" defTabSz="1087869" rtl="0" eaLnBrk="1" fontAlgn="b" latinLnBrk="0" hangingPunct="1">
                        <a:lnSpc>
                          <a:spcPct val="100000"/>
                        </a:lnSpc>
                        <a:spcBef>
                          <a:spcPts val="0"/>
                        </a:spcBef>
                        <a:spcAft>
                          <a:spcPts val="0"/>
                        </a:spcAft>
                        <a:buClrTx/>
                        <a:buSzTx/>
                        <a:buFontTx/>
                        <a:buNone/>
                        <a:tabLst/>
                        <a:defRPr/>
                      </a:pPr>
                      <a:endParaRPr lang="en-US" sz="400" b="0" i="0" u="none" strike="noStrike" dirty="0">
                        <a:solidFill>
                          <a:schemeClr val="tx2"/>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BFBFB">
                        <a:lumMod val="50000"/>
                      </a:srgbClr>
                    </a:solidFill>
                  </a:tcPr>
                </a:tc>
                <a:tc hMerge="1">
                  <a:txBody>
                    <a:bodyPr/>
                    <a:lstStyle/>
                    <a:p>
                      <a:pPr algn="ctr" fontAlgn="b"/>
                      <a:endParaRPr lang="en-US" sz="1600" b="0" i="0" u="none" strike="noStrike" dirty="0">
                        <a:solidFill>
                          <a:srgbClr val="000000"/>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97A7D">
                        <a:lumMod val="40000"/>
                        <a:lumOff val="60000"/>
                        <a:alpha val="90000"/>
                      </a:srgbClr>
                    </a:solidFill>
                  </a:tcPr>
                </a:tc>
                <a:extLst>
                  <a:ext uri="{0D108BD9-81ED-4DB2-BD59-A6C34878D82A}">
                    <a16:rowId xmlns:a16="http://schemas.microsoft.com/office/drawing/2014/main" val="209456060"/>
                  </a:ext>
                </a:extLst>
              </a:tr>
              <a:tr h="548640">
                <a:tc gridSpan="2">
                  <a:txBody>
                    <a:bodyPr/>
                    <a:lstStyle>
                      <a:lvl1pPr marL="0" algn="l" defTabSz="914363" rtl="0" eaLnBrk="1" latinLnBrk="0" hangingPunct="1">
                        <a:defRPr sz="1800" kern="1200">
                          <a:solidFill>
                            <a:schemeClr val="tx1"/>
                          </a:solidFill>
                          <a:latin typeface="Segoe UI"/>
                        </a:defRPr>
                      </a:lvl1pPr>
                      <a:lvl2pPr marL="457182" algn="l" defTabSz="914363" rtl="0" eaLnBrk="1" latinLnBrk="0" hangingPunct="1">
                        <a:defRPr sz="1800" kern="1200">
                          <a:solidFill>
                            <a:schemeClr val="tx1"/>
                          </a:solidFill>
                          <a:latin typeface="Segoe UI"/>
                        </a:defRPr>
                      </a:lvl2pPr>
                      <a:lvl3pPr marL="914363" algn="l" defTabSz="914363" rtl="0" eaLnBrk="1" latinLnBrk="0" hangingPunct="1">
                        <a:defRPr sz="1800" kern="1200">
                          <a:solidFill>
                            <a:schemeClr val="tx1"/>
                          </a:solidFill>
                          <a:latin typeface="Segoe UI"/>
                        </a:defRPr>
                      </a:lvl3pPr>
                      <a:lvl4pPr marL="1371545" algn="l" defTabSz="914363" rtl="0" eaLnBrk="1" latinLnBrk="0" hangingPunct="1">
                        <a:defRPr sz="1800" kern="1200">
                          <a:solidFill>
                            <a:schemeClr val="tx1"/>
                          </a:solidFill>
                          <a:latin typeface="Segoe UI"/>
                        </a:defRPr>
                      </a:lvl4pPr>
                      <a:lvl5pPr marL="1828727" algn="l" defTabSz="914363" rtl="0" eaLnBrk="1" latinLnBrk="0" hangingPunct="1">
                        <a:defRPr sz="1800" kern="1200">
                          <a:solidFill>
                            <a:schemeClr val="tx1"/>
                          </a:solidFill>
                          <a:latin typeface="Segoe UI"/>
                        </a:defRPr>
                      </a:lvl5pPr>
                      <a:lvl6pPr marL="2285909" algn="l" defTabSz="914363" rtl="0" eaLnBrk="1" latinLnBrk="0" hangingPunct="1">
                        <a:defRPr sz="1800" kern="1200">
                          <a:solidFill>
                            <a:schemeClr val="tx1"/>
                          </a:solidFill>
                          <a:latin typeface="Segoe UI"/>
                        </a:defRPr>
                      </a:lvl6pPr>
                      <a:lvl7pPr marL="2743090" algn="l" defTabSz="914363" rtl="0" eaLnBrk="1" latinLnBrk="0" hangingPunct="1">
                        <a:defRPr sz="1800" kern="1200">
                          <a:solidFill>
                            <a:schemeClr val="tx1"/>
                          </a:solidFill>
                          <a:latin typeface="Segoe UI"/>
                        </a:defRPr>
                      </a:lvl7pPr>
                      <a:lvl8pPr marL="3200272" algn="l" defTabSz="914363" rtl="0" eaLnBrk="1" latinLnBrk="0" hangingPunct="1">
                        <a:defRPr sz="1800" kern="1200">
                          <a:solidFill>
                            <a:schemeClr val="tx1"/>
                          </a:solidFill>
                          <a:latin typeface="Segoe UI"/>
                        </a:defRPr>
                      </a:lvl8pPr>
                      <a:lvl9pPr marL="3657454" algn="l" defTabSz="914363" rtl="0" eaLnBrk="1" latinLnBrk="0" hangingPunct="1">
                        <a:defRPr sz="1800" kern="1200">
                          <a:solidFill>
                            <a:schemeClr val="tx1"/>
                          </a:solidFill>
                          <a:latin typeface="Segoe UI"/>
                        </a:defRPr>
                      </a:lvl9pPr>
                    </a:lstStyle>
                    <a:p>
                      <a:pPr marL="91440" marR="0" lvl="0" indent="0" algn="ctr" defTabSz="1087869" rtl="0" eaLnBrk="1" fontAlgn="b" latinLnBrk="0" hangingPunct="1">
                        <a:lnSpc>
                          <a:spcPct val="100000"/>
                        </a:lnSpc>
                        <a:spcBef>
                          <a:spcPts val="0"/>
                        </a:spcBef>
                        <a:spcAft>
                          <a:spcPts val="0"/>
                        </a:spcAft>
                        <a:buClrTx/>
                        <a:buSzTx/>
                        <a:buFontTx/>
                        <a:buNone/>
                        <a:tabLst/>
                        <a:defRPr/>
                      </a:pPr>
                      <a:r>
                        <a:rPr lang="en-US" sz="1800" b="0" i="0" u="none" strike="noStrike" kern="1200" dirty="0">
                          <a:solidFill>
                            <a:schemeClr val="tx2"/>
                          </a:solidFill>
                          <a:effectLst/>
                          <a:latin typeface="+mn-lt"/>
                          <a:ea typeface="+mn-ea"/>
                          <a:cs typeface="+mn-cs"/>
                        </a:rPr>
                        <a:t>Applies to EA, MPSA, CSP and EDU</a:t>
                      </a: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hMerge="1">
                  <a:txBody>
                    <a:bodyPr/>
                    <a:lstStyle/>
                    <a:p>
                      <a:pPr algn="ctr" fontAlgn="b"/>
                      <a:endParaRPr lang="en-US" sz="1600" b="0" i="0" u="none" strike="noStrike" dirty="0">
                        <a:solidFill>
                          <a:srgbClr val="000000"/>
                        </a:solidFill>
                        <a:effectLst/>
                        <a:latin typeface="+mn-lt"/>
                      </a:endParaRPr>
                    </a:p>
                  </a:txBody>
                  <a:tcPr marL="3810" marR="3810" marT="381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97A7D">
                        <a:lumMod val="40000"/>
                        <a:lumOff val="60000"/>
                        <a:alpha val="90000"/>
                      </a:srgbClr>
                    </a:solidFill>
                  </a:tcPr>
                </a:tc>
                <a:extLst>
                  <a:ext uri="{0D108BD9-81ED-4DB2-BD59-A6C34878D82A}">
                    <a16:rowId xmlns:a16="http://schemas.microsoft.com/office/drawing/2014/main" val="1670034335"/>
                  </a:ext>
                </a:extLst>
              </a:tr>
            </a:tbl>
          </a:graphicData>
        </a:graphic>
      </p:graphicFrame>
      <p:sp>
        <p:nvSpPr>
          <p:cNvPr id="12" name="TextBox 11"/>
          <p:cNvSpPr txBox="1"/>
          <p:nvPr/>
        </p:nvSpPr>
        <p:spPr>
          <a:xfrm>
            <a:off x="460773" y="993164"/>
            <a:ext cx="10843866" cy="881740"/>
          </a:xfrm>
          <a:prstGeom prst="rect">
            <a:avLst/>
          </a:prstGeom>
          <a:solidFill>
            <a:schemeClr val="bg2">
              <a:lumMod val="20000"/>
              <a:lumOff val="80000"/>
            </a:schemeClr>
          </a:solidFill>
          <a:ln w="10000" cap="flat" cmpd="sng" algn="ctr">
            <a:noFill/>
            <a:prstDash val="solid"/>
          </a:ln>
          <a:effectLst/>
        </p:spPr>
        <p:txBody>
          <a:bodyPr lIns="182880" tIns="0" rIns="91440" bIns="0" rtlCol="0" anchor="ctr"/>
          <a:lstStyle>
            <a:defPPr>
              <a:defRPr lang="en-US"/>
            </a:defPPr>
            <a:lvl1pPr defTabSz="896218">
              <a:defRPr sz="1961" kern="0">
                <a:solidFill>
                  <a:srgbClr val="000000"/>
                </a:solidFill>
                <a:ea typeface="Segoe UI" panose="020B0502040204020203" pitchFamily="34" charset="0"/>
                <a:cs typeface="Segoe UI" panose="020B0502040204020203" pitchFamily="34" charset="0"/>
              </a:defRPr>
            </a:lvl1pPr>
          </a:lstStyle>
          <a:p>
            <a:pPr marL="0" marR="0" lvl="0" indent="0" defTabSz="896218"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3302E"/>
                </a:solidFill>
                <a:effectLst/>
                <a:uLnTx/>
                <a:uFillTx/>
                <a:cs typeface="Segoe UI" panose="020B0502040204020203" pitchFamily="34" charset="0"/>
              </a:rPr>
              <a:t>Office 365 E5 and Secure Product Enterprise E5 are bundled offers that include PSTN Conferencing. There can be tax implications based on how these offers are presented on an invoice. For indirect channels, we recommend that partners contact their legal and tax departments for further assistance. </a:t>
            </a:r>
          </a:p>
        </p:txBody>
      </p:sp>
      <p:sp>
        <p:nvSpPr>
          <p:cNvPr id="14" name="Rectangle 13"/>
          <p:cNvSpPr/>
          <p:nvPr/>
        </p:nvSpPr>
        <p:spPr>
          <a:xfrm>
            <a:off x="288682" y="151004"/>
            <a:ext cx="10316222" cy="541174"/>
          </a:xfrm>
          <a:prstGeom prst="rect">
            <a:avLst/>
          </a:prstGeom>
        </p:spPr>
        <p:txBody>
          <a:bodyPr wrap="none">
            <a:spAutoFit/>
          </a:bodyPr>
          <a:lstStyle/>
          <a:p>
            <a:pPr lvl="0" defTabSz="913775">
              <a:lnSpc>
                <a:spcPts val="3499"/>
              </a:lnSpc>
              <a:spcBef>
                <a:spcPct val="0"/>
              </a:spcBef>
              <a:defRPr/>
            </a:pPr>
            <a:r>
              <a:rPr lang="en-US" sz="3200" b="1" kern="900" spc="294" dirty="0">
                <a:solidFill>
                  <a:schemeClr val="accent1"/>
                </a:solidFill>
              </a:rPr>
              <a:t>PSTN CONFERENCING INVOICE BREAKOUT %	</a:t>
            </a:r>
            <a:endParaRPr kumimoji="0" lang="en-US" sz="3200" b="1" i="0" u="none" strike="noStrike" kern="900" cap="none" spc="294" normalizeH="0" baseline="0" noProof="0" dirty="0">
              <a:ln w="3175">
                <a:noFill/>
              </a:ln>
              <a:solidFill>
                <a:srgbClr val="DC3C00"/>
              </a:solidFill>
              <a:effectLst/>
              <a:uLnTx/>
              <a:uFillTx/>
              <a:latin typeface="Segoe UI"/>
              <a:cs typeface="Arial" charset="0"/>
            </a:endParaRPr>
          </a:p>
        </p:txBody>
      </p:sp>
    </p:spTree>
    <p:extLst>
      <p:ext uri="{BB962C8B-B14F-4D97-AF65-F5344CB8AC3E}">
        <p14:creationId xmlns:p14="http://schemas.microsoft.com/office/powerpoint/2010/main" val="20181471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ADACFB-7C71-4E89-89D2-7BBA40B7BFA9}" type="slidenum">
              <a:rPr kumimoji="0" lang="en-US" sz="900" b="0" i="0" u="none" strike="noStrike" kern="1200" cap="none" spc="0" normalizeH="0" baseline="0" noProof="0" smtClean="0">
                <a:ln>
                  <a:noFill/>
                </a:ln>
                <a:solidFill>
                  <a:srgbClr val="505050"/>
                </a:solidFill>
                <a:effectLst/>
                <a:uLnTx/>
                <a:uFillTx/>
                <a:latin typeface="Segoe UI"/>
                <a:cs typeface="Segoe UI"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dirty="0">
              <a:ln>
                <a:noFill/>
              </a:ln>
              <a:solidFill>
                <a:srgbClr val="505050"/>
              </a:solidFill>
              <a:effectLst/>
              <a:uLnTx/>
              <a:uFillTx/>
              <a:latin typeface="Segoe UI"/>
              <a:cs typeface="Segoe UI" pitchFamily="34" charset="0"/>
            </a:endParaRPr>
          </a:p>
        </p:txBody>
      </p:sp>
      <p:sp>
        <p:nvSpPr>
          <p:cNvPr id="293" name="Rectangle 292"/>
          <p:cNvSpPr/>
          <p:nvPr/>
        </p:nvSpPr>
        <p:spPr bwMode="auto">
          <a:xfrm>
            <a:off x="736846" y="2626103"/>
            <a:ext cx="5111694" cy="655426"/>
          </a:xfrm>
          <a:prstGeom prst="rect">
            <a:avLst/>
          </a:prstGeom>
          <a:solidFill>
            <a:srgbClr val="6E6E73">
              <a:lumMod val="75000"/>
              <a:alpha val="90000"/>
            </a:srgbClr>
          </a:solidFill>
          <a:ln w="10795" cap="flat" cmpd="sng" algn="ctr">
            <a:noFill/>
            <a:prstDash val="solid"/>
            <a:headEnd type="none" w="med" len="med"/>
            <a:tailEnd type="none" w="med" len="med"/>
          </a:ln>
          <a:effectLst/>
        </p:spPr>
        <p:txBody>
          <a:bodyPr vert="horz" wrap="square" lIns="182880" tIns="0" rIns="0" bIns="0" numCol="1" rtlCol="0" anchor="ctr" anchorCtr="0" compatLnSpc="1">
            <a:prstTxWarp prst="textNoShape">
              <a:avLst/>
            </a:prstTxWarp>
            <a:noAutofit/>
          </a:bodyPr>
          <a:lstStyle/>
          <a:p>
            <a:pPr marL="0" marR="0" lvl="0" indent="0" algn="ctr" defTabSz="913653" rtl="0" eaLnBrk="1" fontAlgn="base" latinLnBrk="0" hangingPunct="1">
              <a:lnSpc>
                <a:spcPct val="100000"/>
              </a:lnSpc>
              <a:spcBef>
                <a:spcPct val="0"/>
              </a:spcBef>
              <a:spcAft>
                <a:spcPct val="0"/>
              </a:spcAft>
              <a:buClrTx/>
              <a:buSzTx/>
              <a:buFontTx/>
              <a:buNone/>
              <a:tabLst/>
              <a:defRPr/>
            </a:pPr>
            <a:r>
              <a:rPr kumimoji="0" lang="en-GB" sz="20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ea typeface="+mn-ea"/>
                <a:cs typeface="+mn-cs"/>
              </a:rPr>
              <a:t>Existing Server</a:t>
            </a:r>
          </a:p>
        </p:txBody>
      </p:sp>
      <p:sp>
        <p:nvSpPr>
          <p:cNvPr id="34" name="TextBox 33"/>
          <p:cNvSpPr txBox="1"/>
          <p:nvPr/>
        </p:nvSpPr>
        <p:spPr>
          <a:xfrm>
            <a:off x="736845" y="1002400"/>
            <a:ext cx="10644674" cy="815157"/>
          </a:xfrm>
          <a:prstGeom prst="rect">
            <a:avLst/>
          </a:prstGeom>
          <a:solidFill>
            <a:schemeClr val="bg1">
              <a:lumMod val="85000"/>
            </a:schemeClr>
          </a:solidFill>
          <a:ln w="10000" cap="flat" cmpd="sng" algn="ctr">
            <a:noFill/>
            <a:prstDash val="solid"/>
          </a:ln>
          <a:effectLst/>
        </p:spPr>
        <p:txBody>
          <a:bodyPr lIns="182880" tIns="0" rIns="182880" bIns="0" rtlCol="0" anchor="ctr"/>
          <a:lstStyle>
            <a:defPPr>
              <a:defRPr lang="en-US"/>
            </a:defPPr>
            <a:lvl1pPr defTabSz="896218">
              <a:defRPr sz="1961" kern="0">
                <a:solidFill>
                  <a:srgbClr val="000000"/>
                </a:solidFill>
                <a:ea typeface="Segoe UI" panose="020B0502040204020203" pitchFamily="34" charset="0"/>
                <a:cs typeface="Segoe UI" panose="020B0502040204020203" pitchFamily="34" charset="0"/>
              </a:defRPr>
            </a:lvl1pPr>
          </a:lstStyle>
          <a:p>
            <a:pPr marL="0" marR="0" lvl="0" indent="0" algn="l" defTabSz="896218" rtl="0" eaLnBrk="1" fontAlgn="auto" latinLnBrk="0" hangingPunct="1">
              <a:lnSpc>
                <a:spcPct val="100000"/>
              </a:lnSpc>
              <a:spcBef>
                <a:spcPts val="300"/>
              </a:spcBef>
              <a:spcAft>
                <a:spcPts val="300"/>
              </a:spcAft>
              <a:buClrTx/>
              <a:buSzTx/>
              <a:buFontTx/>
              <a:buNone/>
              <a:tabLst/>
              <a:defRPr/>
            </a:pPr>
            <a:r>
              <a:rPr kumimoji="0" lang="en-US" sz="1700" b="0" i="0"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rPr>
              <a:t>E5 and Cloud PBX customers will be able to connect their existing PSTN service provider with Microsoft’s cloud-based call control. </a:t>
            </a:r>
          </a:p>
        </p:txBody>
      </p:sp>
      <p:sp>
        <p:nvSpPr>
          <p:cNvPr id="36" name="Rectangle 35"/>
          <p:cNvSpPr/>
          <p:nvPr/>
        </p:nvSpPr>
        <p:spPr bwMode="auto">
          <a:xfrm>
            <a:off x="6269825" y="2626103"/>
            <a:ext cx="5111694" cy="655426"/>
          </a:xfrm>
          <a:prstGeom prst="rect">
            <a:avLst/>
          </a:prstGeom>
          <a:solidFill>
            <a:srgbClr val="6E6E73">
              <a:lumMod val="75000"/>
              <a:alpha val="90000"/>
            </a:srgbClr>
          </a:solidFill>
          <a:ln w="10795" cap="flat" cmpd="sng" algn="ctr">
            <a:noFill/>
            <a:prstDash val="solid"/>
            <a:headEnd type="none" w="med" len="med"/>
            <a:tailEnd type="none" w="med" len="med"/>
          </a:ln>
          <a:effectLst/>
        </p:spPr>
        <p:txBody>
          <a:bodyPr vert="horz" wrap="square" lIns="182880" tIns="0" rIns="0" bIns="0" numCol="1" rtlCol="0" anchor="ctr" anchorCtr="0" compatLnSpc="1">
            <a:prstTxWarp prst="textNoShape">
              <a:avLst/>
            </a:prstTxWarp>
            <a:noAutofit/>
          </a:bodyPr>
          <a:lstStyle/>
          <a:p>
            <a:pPr marL="0" marR="0" lvl="0" indent="0" algn="ctr" defTabSz="913653" rtl="0" eaLnBrk="1" fontAlgn="base" latinLnBrk="0" hangingPunct="1">
              <a:lnSpc>
                <a:spcPct val="100000"/>
              </a:lnSpc>
              <a:spcBef>
                <a:spcPct val="0"/>
              </a:spcBef>
              <a:spcAft>
                <a:spcPct val="0"/>
              </a:spcAft>
              <a:buClrTx/>
              <a:buSzTx/>
              <a:buFontTx/>
              <a:buNone/>
              <a:tabLst/>
              <a:defRPr/>
            </a:pPr>
            <a:r>
              <a:rPr kumimoji="0" lang="en-GB" sz="2000" b="1" i="0" u="none" strike="noStrike" kern="0" cap="none" spc="294" normalizeH="0" baseline="0" noProof="0" dirty="0">
                <a:ln>
                  <a:noFill/>
                </a:ln>
                <a:gradFill>
                  <a:gsLst>
                    <a:gs pos="87745">
                      <a:srgbClr val="FFFFFF"/>
                    </a:gs>
                    <a:gs pos="71078">
                      <a:srgbClr val="FFFFFF"/>
                    </a:gs>
                  </a:gsLst>
                  <a:lin ang="2700000" scaled="1"/>
                </a:gradFill>
                <a:effectLst/>
                <a:uLnTx/>
                <a:uFillTx/>
                <a:latin typeface="Segoe UI"/>
                <a:ea typeface="+mn-ea"/>
                <a:cs typeface="+mn-cs"/>
              </a:rPr>
              <a:t>No Existing Server</a:t>
            </a:r>
          </a:p>
        </p:txBody>
      </p:sp>
      <p:sp>
        <p:nvSpPr>
          <p:cNvPr id="39" name="Rectangle 21"/>
          <p:cNvSpPr/>
          <p:nvPr/>
        </p:nvSpPr>
        <p:spPr bwMode="auto">
          <a:xfrm>
            <a:off x="736845" y="3414360"/>
            <a:ext cx="5111695" cy="2890415"/>
          </a:xfrm>
          <a:prstGeom prst="rect">
            <a:avLst/>
          </a:prstGeom>
          <a:solidFill>
            <a:schemeClr val="bg1"/>
          </a:solidFill>
          <a:ln w="10795" cap="flat" cmpd="sng" algn="ctr">
            <a:noFill/>
            <a:prstDash val="solid"/>
            <a:headEnd type="none" w="med" len="med"/>
            <a:tailEnd type="none" w="med" len="med"/>
          </a:ln>
          <a:effectLst/>
        </p:spPr>
        <p:txBody>
          <a:bodyPr vert="horz" wrap="square" lIns="182880" tIns="182880" rIns="182880" bIns="182880" numCol="1" rtlCol="0" anchor="t" anchorCtr="0" compatLnSpc="1">
            <a:prstTxWarp prst="textNoShape">
              <a:avLst/>
            </a:prstTxWarp>
          </a:bodyPr>
          <a:lstStyle/>
          <a:p>
            <a:pPr marL="285750" marR="0" lvl="0" indent="-285750" algn="l" defTabSz="932290" rtl="0" eaLnBrk="1" fontAlgn="base" latinLnBrk="0" hangingPunct="1">
              <a:lnSpc>
                <a:spcPct val="90000"/>
              </a:lnSpc>
              <a:spcBef>
                <a:spcPts val="600"/>
              </a:spcBef>
              <a:spcAft>
                <a:spcPts val="600"/>
              </a:spcAft>
              <a:buClrTx/>
              <a:buSzPct val="120000"/>
              <a:buFont typeface="Wingdings" panose="05000000000000000000" pitchFamily="2" charset="2"/>
              <a:buChar char="Ø"/>
              <a:tabLst/>
              <a:defRPr/>
            </a:pPr>
            <a:r>
              <a:rPr kumimoji="0" lang="en-US" sz="1600" b="0" i="0" u="none" strike="noStrike" kern="900" cap="none" spc="0" normalizeH="0" baseline="0" noProof="0" dirty="0">
                <a:ln w="3175">
                  <a:noFill/>
                </a:ln>
                <a:solidFill>
                  <a:srgbClr val="000000">
                    <a:lumMod val="75000"/>
                    <a:lumOff val="25000"/>
                  </a:srgbClr>
                </a:solidFill>
                <a:effectLst/>
                <a:uLnTx/>
                <a:uFillTx/>
                <a:latin typeface="Segoe UI"/>
                <a:ea typeface="+mn-ea"/>
                <a:cs typeface="Segoe UI" panose="020B0502040204020203" pitchFamily="34" charset="0"/>
              </a:rPr>
              <a:t>Customers with an existing Skype for Business Server deployment can configure it to connect to Cloud PBX functionality</a:t>
            </a:r>
          </a:p>
          <a:p>
            <a:pPr marL="285750" marR="0" lvl="0" indent="-285750" algn="l" defTabSz="932290" rtl="0" eaLnBrk="1" fontAlgn="base" latinLnBrk="0" hangingPunct="1">
              <a:lnSpc>
                <a:spcPct val="90000"/>
              </a:lnSpc>
              <a:spcBef>
                <a:spcPts val="600"/>
              </a:spcBef>
              <a:spcAft>
                <a:spcPts val="600"/>
              </a:spcAft>
              <a:buClrTx/>
              <a:buSzPct val="120000"/>
              <a:buFont typeface="Wingdings" panose="05000000000000000000" pitchFamily="2" charset="2"/>
              <a:buChar char="Ø"/>
              <a:tabLst/>
              <a:defRPr/>
            </a:pPr>
            <a:r>
              <a:rPr kumimoji="0" lang="en-US" sz="1600" b="0" i="0" u="none" strike="noStrike" kern="900" cap="none" spc="0" normalizeH="0" baseline="0" noProof="0" dirty="0">
                <a:ln w="3175">
                  <a:noFill/>
                </a:ln>
                <a:solidFill>
                  <a:srgbClr val="000000">
                    <a:lumMod val="75000"/>
                    <a:lumOff val="25000"/>
                  </a:srgbClr>
                </a:solidFill>
                <a:effectLst/>
                <a:uLnTx/>
                <a:uFillTx/>
                <a:latin typeface="Segoe UI"/>
                <a:ea typeface="+mn-ea"/>
                <a:cs typeface="Segoe UI" panose="020B0502040204020203" pitchFamily="34" charset="0"/>
              </a:rPr>
              <a:t>Covered under existing Server licensing</a:t>
            </a:r>
          </a:p>
        </p:txBody>
      </p:sp>
      <p:sp>
        <p:nvSpPr>
          <p:cNvPr id="40" name="Rectangle 21"/>
          <p:cNvSpPr/>
          <p:nvPr/>
        </p:nvSpPr>
        <p:spPr bwMode="auto">
          <a:xfrm>
            <a:off x="6269824" y="3414359"/>
            <a:ext cx="5111695" cy="2890415"/>
          </a:xfrm>
          <a:prstGeom prst="rect">
            <a:avLst/>
          </a:prstGeom>
          <a:solidFill>
            <a:schemeClr val="bg1"/>
          </a:solidFill>
          <a:ln w="10795" cap="flat" cmpd="sng" algn="ctr">
            <a:noFill/>
            <a:prstDash val="solid"/>
            <a:headEnd type="none" w="med" len="med"/>
            <a:tailEnd type="none" w="med" len="med"/>
          </a:ln>
          <a:effectLst/>
        </p:spPr>
        <p:txBody>
          <a:bodyPr vert="horz" wrap="square" lIns="182880" tIns="182880" rIns="182880" bIns="182880" numCol="1" rtlCol="0" anchor="t" anchorCtr="0" compatLnSpc="1">
            <a:prstTxWarp prst="textNoShape">
              <a:avLst/>
            </a:prstTxWarp>
          </a:bodyPr>
          <a:lstStyle/>
          <a:p>
            <a:pPr marL="285750" marR="0" lvl="0" indent="-285750" algn="l" defTabSz="932290" rtl="0" eaLnBrk="1" fontAlgn="base" latinLnBrk="0" hangingPunct="1">
              <a:lnSpc>
                <a:spcPct val="90000"/>
              </a:lnSpc>
              <a:spcBef>
                <a:spcPts val="600"/>
              </a:spcBef>
              <a:spcAft>
                <a:spcPts val="600"/>
              </a:spcAft>
              <a:buClrTx/>
              <a:buSzPct val="120000"/>
              <a:buFont typeface="Wingdings" panose="05000000000000000000" pitchFamily="2" charset="2"/>
              <a:buChar char="Ø"/>
              <a:tabLst/>
              <a:defRPr/>
            </a:pPr>
            <a:r>
              <a:rPr kumimoji="0" lang="en-US" sz="1600" b="0" i="0" u="none" strike="noStrike" kern="900" cap="none" spc="0" normalizeH="0" baseline="0" noProof="0" dirty="0">
                <a:ln w="3175">
                  <a:noFill/>
                </a:ln>
                <a:solidFill>
                  <a:srgbClr val="000000">
                    <a:lumMod val="75000"/>
                    <a:lumOff val="25000"/>
                  </a:srgbClr>
                </a:solidFill>
                <a:effectLst/>
                <a:uLnTx/>
                <a:uFillTx/>
                <a:latin typeface="Segoe UI"/>
                <a:ea typeface="+mn-ea"/>
                <a:cs typeface="Segoe UI" panose="020B0502040204020203" pitchFamily="34" charset="0"/>
              </a:rPr>
              <a:t>Customer can leverage a minimal Skype for Business Server deployment</a:t>
            </a:r>
          </a:p>
          <a:p>
            <a:pPr marL="285750" marR="0" lvl="0" indent="-285750" algn="l" defTabSz="932290" rtl="0" eaLnBrk="1" fontAlgn="base" latinLnBrk="0" hangingPunct="1">
              <a:lnSpc>
                <a:spcPct val="90000"/>
              </a:lnSpc>
              <a:spcBef>
                <a:spcPts val="600"/>
              </a:spcBef>
              <a:spcAft>
                <a:spcPts val="600"/>
              </a:spcAft>
              <a:buClrTx/>
              <a:buSzPct val="120000"/>
              <a:buFont typeface="Wingdings" panose="05000000000000000000" pitchFamily="2" charset="2"/>
              <a:buChar char="Ø"/>
              <a:tabLst/>
              <a:defRPr/>
            </a:pPr>
            <a:r>
              <a:rPr kumimoji="0" lang="en-US" sz="1600" b="0" i="0" u="none" strike="noStrike" kern="900" cap="none" spc="0" normalizeH="0" baseline="0" noProof="0" dirty="0">
                <a:ln w="3175">
                  <a:noFill/>
                </a:ln>
                <a:solidFill>
                  <a:srgbClr val="000000">
                    <a:lumMod val="75000"/>
                    <a:lumOff val="25000"/>
                  </a:srgbClr>
                </a:solidFill>
                <a:effectLst/>
                <a:uLnTx/>
                <a:uFillTx/>
                <a:latin typeface="Segoe UI"/>
                <a:ea typeface="+mn-ea"/>
                <a:cs typeface="Segoe UI" panose="020B0502040204020203" pitchFamily="34" charset="0"/>
              </a:rPr>
              <a:t>Four preconfigured Virtual Machines are deployed on customer owned Windows Servers</a:t>
            </a:r>
          </a:p>
          <a:p>
            <a:pPr marL="285750" marR="0" lvl="0" indent="-285750" algn="l" defTabSz="932290" rtl="0" eaLnBrk="1" fontAlgn="base" latinLnBrk="0" hangingPunct="1">
              <a:lnSpc>
                <a:spcPct val="90000"/>
              </a:lnSpc>
              <a:spcBef>
                <a:spcPts val="600"/>
              </a:spcBef>
              <a:spcAft>
                <a:spcPts val="600"/>
              </a:spcAft>
              <a:buClrTx/>
              <a:buSzPct val="120000"/>
              <a:buFont typeface="Wingdings" panose="05000000000000000000" pitchFamily="2" charset="2"/>
              <a:buChar char="Ø"/>
              <a:tabLst/>
              <a:defRPr/>
            </a:pPr>
            <a:r>
              <a:rPr kumimoji="0" lang="en-US" sz="1600" b="0" i="0" u="none" strike="noStrike" kern="900" cap="none" spc="0" normalizeH="0" baseline="0" noProof="0" dirty="0">
                <a:ln w="3175">
                  <a:noFill/>
                </a:ln>
                <a:solidFill>
                  <a:srgbClr val="000000">
                    <a:lumMod val="75000"/>
                    <a:lumOff val="25000"/>
                  </a:srgbClr>
                </a:solidFill>
                <a:effectLst/>
                <a:uLnTx/>
                <a:uFillTx/>
                <a:latin typeface="Segoe UI"/>
                <a:ea typeface="+mn-ea"/>
                <a:cs typeface="Segoe UI" panose="020B0502040204020203" pitchFamily="34" charset="0"/>
              </a:rPr>
              <a:t>Skype for Business Server roles in VMs are not paid roles and are licensed for use with Cloud PBX</a:t>
            </a:r>
          </a:p>
        </p:txBody>
      </p:sp>
      <p:sp>
        <p:nvSpPr>
          <p:cNvPr id="41" name="Rectangle 40"/>
          <p:cNvSpPr/>
          <p:nvPr/>
        </p:nvSpPr>
        <p:spPr>
          <a:xfrm>
            <a:off x="736845" y="2057833"/>
            <a:ext cx="10644674" cy="4681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Scenarios are based on whether a customer already has a Skype for Business Server deployed</a:t>
            </a:r>
          </a:p>
        </p:txBody>
      </p:sp>
      <p:sp>
        <p:nvSpPr>
          <p:cNvPr id="11" name="Rectangle 10"/>
          <p:cNvSpPr/>
          <p:nvPr/>
        </p:nvSpPr>
        <p:spPr>
          <a:xfrm>
            <a:off x="288682" y="151004"/>
            <a:ext cx="8728095" cy="541174"/>
          </a:xfrm>
          <a:prstGeom prst="rect">
            <a:avLst/>
          </a:prstGeom>
        </p:spPr>
        <p:txBody>
          <a:bodyPr wrap="none">
            <a:spAutoFit/>
          </a:bodyPr>
          <a:lstStyle/>
          <a:p>
            <a:pPr lvl="0" defTabSz="914225">
              <a:lnSpc>
                <a:spcPts val="3500"/>
              </a:lnSpc>
              <a:spcBef>
                <a:spcPct val="0"/>
              </a:spcBef>
              <a:defRPr/>
            </a:pPr>
            <a:r>
              <a:rPr lang="en-US" sz="3200" b="1" kern="900" spc="294" dirty="0">
                <a:solidFill>
                  <a:srgbClr val="DC3C00"/>
                </a:solidFill>
              </a:rPr>
              <a:t>SKYPE FOR BUSINESS SERVER RIGHTS</a:t>
            </a:r>
            <a:endParaRPr lang="en-US" sz="3200" b="1" kern="900" spc="294" dirty="0">
              <a:ln w="3175">
                <a:noFill/>
              </a:ln>
              <a:solidFill>
                <a:srgbClr val="DC3C00"/>
              </a:solidFill>
              <a:cs typeface="Arial" charset="0"/>
            </a:endParaRPr>
          </a:p>
        </p:txBody>
      </p:sp>
    </p:spTree>
    <p:extLst>
      <p:ext uri="{BB962C8B-B14F-4D97-AF65-F5344CB8AC3E}">
        <p14:creationId xmlns:p14="http://schemas.microsoft.com/office/powerpoint/2010/main" val="21623403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2476" y="3083842"/>
            <a:ext cx="3222565" cy="690319"/>
          </a:xfrm>
          <a:prstGeom prst="rect">
            <a:avLst/>
          </a:prstGeom>
        </p:spPr>
      </p:pic>
      <p:sp>
        <p:nvSpPr>
          <p:cNvPr id="5" name="Text Box 3"/>
          <p:cNvSpPr txBox="1">
            <a:spLocks noChangeArrowheads="1"/>
          </p:cNvSpPr>
          <p:nvPr/>
        </p:nvSpPr>
        <p:spPr bwMode="blackWhite">
          <a:xfrm>
            <a:off x="270029" y="5959000"/>
            <a:ext cx="10754327" cy="612661"/>
          </a:xfrm>
          <a:prstGeom prst="rect">
            <a:avLst/>
          </a:prstGeom>
        </p:spPr>
        <p:txBody>
          <a:bodyPr vert="horz" wrap="square" lIns="179212" tIns="143371" rIns="179212" bIns="143371" numCol="1" anchor="t" anchorCtr="0" compatLnSpc="1">
            <a:prstTxWarp prst="textNoShape">
              <a:avLst/>
            </a:prstTxWarp>
            <a:spAutoFit/>
          </a:bodyPr>
          <a:lstStyle/>
          <a:p>
            <a:pPr defTabSz="913475"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Microsoft, Windows, and other product names are or may be registered trademarks and/or trademarks in the U.S. and/or other countries.</a:t>
            </a:r>
          </a:p>
          <a:p>
            <a:pPr defTabSz="913475"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4" name="Frame 3"/>
          <p:cNvSpPr/>
          <p:nvPr/>
        </p:nvSpPr>
        <p:spPr bwMode="auto">
          <a:xfrm>
            <a:off x="-11151" y="0"/>
            <a:ext cx="12203151" cy="6858000"/>
          </a:xfrm>
          <a:prstGeom prst="frame">
            <a:avLst>
              <a:gd name="adj1" fmla="val 2075"/>
            </a:avLst>
          </a:prstGeom>
          <a:solidFill>
            <a:schemeClr val="bg1">
              <a:lumMod val="8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043265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4" name="think-cell Slide" r:id="rId5" imgW="377" imgH="377" progId="TCLayout.ActiveDocument.1">
                  <p:embed/>
                </p:oleObj>
              </mc:Choice>
              <mc:Fallback>
                <p:oleObj name="think-cell Slide" r:id="rId5" imgW="377"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5" name="Rectangle 44"/>
          <p:cNvSpPr/>
          <p:nvPr/>
        </p:nvSpPr>
        <p:spPr bwMode="auto">
          <a:xfrm>
            <a:off x="7994243" y="3629607"/>
            <a:ext cx="3549842" cy="2029577"/>
          </a:xfrm>
          <a:prstGeom prst="rect">
            <a:avLst/>
          </a:prstGeom>
          <a:solidFill>
            <a:schemeClr val="bg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defTabSz="896386" eaLnBrk="1" fontAlgn="auto" latinLnBrk="0" hangingPunct="1">
              <a:lnSpc>
                <a:spcPct val="100000"/>
              </a:lnSpc>
              <a:spcBef>
                <a:spcPts val="0"/>
              </a:spcBef>
              <a:spcAft>
                <a:spcPts val="500"/>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PSTN Conferencing: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Worldwide dial-in for your online meetings</a:t>
            </a:r>
          </a:p>
          <a:p>
            <a:pPr marL="0" marR="0" lvl="0" indent="0" defTabSz="896386" eaLnBrk="1" fontAlgn="auto" latinLnBrk="0" hangingPunct="1">
              <a:lnSpc>
                <a:spcPct val="100000"/>
              </a:lnSpc>
              <a:spcBef>
                <a:spcPts val="0"/>
              </a:spcBef>
              <a:spcAft>
                <a:spcPts val="500"/>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Cloud PBX: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Business phone system in the cloud</a:t>
            </a:r>
          </a:p>
          <a:p>
            <a:pPr marL="0" marR="0" lvl="0" indent="0" defTabSz="896386" eaLnBrk="1" fontAlgn="auto" latinLnBrk="0" hangingPunct="1">
              <a:lnSpc>
                <a:spcPct val="100000"/>
              </a:lnSpc>
              <a:spcBef>
                <a:spcPts val="0"/>
              </a:spcBef>
              <a:spcAft>
                <a:spcPts val="500"/>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PSTN Calling: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Cost effective cloud based dial tone</a:t>
            </a:r>
            <a:b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add-on)</a:t>
            </a:r>
          </a:p>
        </p:txBody>
      </p:sp>
      <p:sp>
        <p:nvSpPr>
          <p:cNvPr id="46" name="Rectangle 45"/>
          <p:cNvSpPr/>
          <p:nvPr/>
        </p:nvSpPr>
        <p:spPr bwMode="auto">
          <a:xfrm>
            <a:off x="4331091" y="3629607"/>
            <a:ext cx="3549842" cy="2029577"/>
          </a:xfrm>
          <a:prstGeom prst="rect">
            <a:avLst/>
          </a:prstGeom>
          <a:solidFill>
            <a:schemeClr val="bg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defTabSz="896386"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Power BI Pro: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Live business analytics and visualization </a:t>
            </a:r>
          </a:p>
          <a:p>
            <a:pPr marL="0" marR="0" lvl="0" indent="0" defTabSz="896386"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Delve Analytics: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Individual and team effectiveness</a:t>
            </a:r>
          </a:p>
        </p:txBody>
      </p:sp>
      <p:sp>
        <p:nvSpPr>
          <p:cNvPr id="49" name="Rectangle 48"/>
          <p:cNvSpPr/>
          <p:nvPr/>
        </p:nvSpPr>
        <p:spPr bwMode="auto">
          <a:xfrm>
            <a:off x="667938" y="3629607"/>
            <a:ext cx="3549842" cy="2029577"/>
          </a:xfrm>
          <a:prstGeom prst="rect">
            <a:avLst/>
          </a:prstGeom>
          <a:solidFill>
            <a:schemeClr val="bg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defTabSz="896386"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Advanced Threat Protection: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Zero-day threat and malware protection</a:t>
            </a:r>
          </a:p>
          <a:p>
            <a:pPr marL="0" marR="0" lvl="0" indent="0" defTabSz="896386"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Advanced Security Management: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Enhanced visibility and control</a:t>
            </a:r>
            <a:endPar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endParaRPr>
          </a:p>
          <a:p>
            <a:pPr marL="0" marR="0" lvl="0" indent="0" defTabSz="896386"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Customer Lockbox: </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Maintain end to end compliance</a:t>
            </a:r>
            <a:endPar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endParaRPr>
          </a:p>
          <a:p>
            <a:pPr marL="0" marR="0" lvl="0" indent="0" defTabSz="896386" eaLnBrk="1" fontAlgn="auto" latinLnBrk="0" hangingPunct="1">
              <a:lnSpc>
                <a:spcPct val="100000"/>
              </a:lnSpc>
              <a:spcBef>
                <a:spcPts val="0"/>
              </a:spcBef>
              <a:spcAft>
                <a:spcPts val="588"/>
              </a:spcAft>
              <a:buClrTx/>
              <a:buSzTx/>
              <a:buFontTx/>
              <a:buNone/>
              <a:tabLst/>
              <a:defRPr/>
            </a:pPr>
            <a: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Advanced eDiscovery:</a:t>
            </a:r>
            <a:br>
              <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br>
            <a:r>
              <a:rPr kumimoji="0" lang="en-US" sz="1400" b="0"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rPr>
              <a:t>Identifying the relevant data quickly</a:t>
            </a:r>
            <a:endParaRPr kumimoji="0" lang="en-US" sz="1400" b="1" i="0" u="none" strike="noStrike" kern="0" cap="none" spc="0" normalizeH="0" baseline="0" noProof="0" dirty="0">
              <a:ln>
                <a:noFill/>
              </a:ln>
              <a:solidFill>
                <a:schemeClr val="tx1">
                  <a:lumMod val="75000"/>
                  <a:lumOff val="25000"/>
                </a:schemeClr>
              </a:solidFill>
              <a:effectLst/>
              <a:uLnTx/>
              <a:uFillTx/>
              <a:cs typeface="Segoe UI Semibold" panose="020B0702040204020203" pitchFamily="34" charset="0"/>
            </a:endParaRPr>
          </a:p>
        </p:txBody>
      </p:sp>
      <p:sp>
        <p:nvSpPr>
          <p:cNvPr id="44" name="Rectangle 43"/>
          <p:cNvSpPr/>
          <p:nvPr/>
        </p:nvSpPr>
        <p:spPr bwMode="auto">
          <a:xfrm>
            <a:off x="8000431" y="1297224"/>
            <a:ext cx="3549842" cy="1403034"/>
          </a:xfrm>
          <a:prstGeom prst="rect">
            <a:avLst/>
          </a:prstGeom>
          <a:solidFill>
            <a:schemeClr val="bg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b" anchorCtr="0" compatLnSpc="1">
            <a:prstTxWarp prst="textNoShape">
              <a:avLst/>
            </a:prstTxWarp>
          </a:bodyPr>
          <a:lstStyle/>
          <a:p>
            <a:pPr marL="0" marR="0" lvl="0" indent="0" algn="ctr" defTabSz="914102" eaLnBrk="1" fontAlgn="base" latinLnBrk="0" hangingPunct="1">
              <a:lnSpc>
                <a:spcPct val="100000"/>
              </a:lnSpc>
              <a:spcBef>
                <a:spcPct val="0"/>
              </a:spcBef>
              <a:spcAft>
                <a:spcPts val="588"/>
              </a:spcAft>
              <a:buClrTx/>
              <a:buSzTx/>
              <a:buFontTx/>
              <a:buNone/>
              <a:tabLst/>
              <a:defRPr/>
            </a:pPr>
            <a:endParaRPr kumimoji="0" lang="en-US" sz="1961" b="1" i="0" u="none" strike="noStrike" kern="0" cap="none" spc="0" normalizeH="0" baseline="0" noProof="0" dirty="0">
              <a:ln>
                <a:noFill/>
              </a:ln>
              <a:solidFill>
                <a:schemeClr val="bg1"/>
              </a:solidFill>
              <a:effectLst/>
              <a:uLnTx/>
              <a:uFillTx/>
            </a:endParaRPr>
          </a:p>
        </p:txBody>
      </p:sp>
      <p:sp>
        <p:nvSpPr>
          <p:cNvPr id="2" name="Title 1"/>
          <p:cNvSpPr>
            <a:spLocks noGrp="1"/>
          </p:cNvSpPr>
          <p:nvPr>
            <p:ph type="title"/>
          </p:nvPr>
        </p:nvSpPr>
        <p:spPr/>
        <p:txBody>
          <a:bodyPr/>
          <a:lstStyle/>
          <a:p>
            <a:r>
              <a:rPr lang="en-US" dirty="0">
                <a:cs typeface="Segoe UI" panose="020B0502040204020203" pitchFamily="34" charset="0"/>
              </a:rPr>
              <a:t>New Value for Enterprise Customers</a:t>
            </a:r>
          </a:p>
        </p:txBody>
      </p:sp>
      <p:sp>
        <p:nvSpPr>
          <p:cNvPr id="43" name="Rectangle 42"/>
          <p:cNvSpPr/>
          <p:nvPr/>
        </p:nvSpPr>
        <p:spPr bwMode="auto">
          <a:xfrm>
            <a:off x="4334185" y="1303431"/>
            <a:ext cx="3549842" cy="1403034"/>
          </a:xfrm>
          <a:prstGeom prst="rect">
            <a:avLst/>
          </a:prstGeom>
          <a:solidFill>
            <a:schemeClr val="bg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b" anchorCtr="0" compatLnSpc="1">
            <a:prstTxWarp prst="textNoShape">
              <a:avLst/>
            </a:prstTxWarp>
          </a:bodyPr>
          <a:lstStyle/>
          <a:p>
            <a:pPr marL="0" marR="0" lvl="0" indent="0" algn="ctr" defTabSz="914102" eaLnBrk="1" fontAlgn="base" latinLnBrk="0" hangingPunct="1">
              <a:lnSpc>
                <a:spcPct val="100000"/>
              </a:lnSpc>
              <a:spcBef>
                <a:spcPct val="0"/>
              </a:spcBef>
              <a:spcAft>
                <a:spcPts val="588"/>
              </a:spcAft>
              <a:buClrTx/>
              <a:buSzTx/>
              <a:buFontTx/>
              <a:buNone/>
              <a:tabLst/>
              <a:defRPr/>
            </a:pPr>
            <a:endParaRPr kumimoji="0" lang="en-US" sz="1961" b="1" i="0" u="none" strike="noStrike" kern="0" cap="none" spc="0" normalizeH="0" baseline="0" noProof="0" dirty="0">
              <a:ln>
                <a:noFill/>
              </a:ln>
              <a:solidFill>
                <a:schemeClr val="bg1"/>
              </a:solidFill>
              <a:effectLst/>
              <a:uLnTx/>
              <a:uFillTx/>
            </a:endParaRPr>
          </a:p>
        </p:txBody>
      </p:sp>
      <p:sp>
        <p:nvSpPr>
          <p:cNvPr id="42" name="Rectangle 41"/>
          <p:cNvSpPr/>
          <p:nvPr/>
        </p:nvSpPr>
        <p:spPr bwMode="auto">
          <a:xfrm>
            <a:off x="667938" y="1295400"/>
            <a:ext cx="3549842" cy="1403034"/>
          </a:xfrm>
          <a:prstGeom prst="rect">
            <a:avLst/>
          </a:prstGeom>
          <a:solidFill>
            <a:schemeClr val="bg1">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45720" numCol="1" rtlCol="0" anchor="b" anchorCtr="0" compatLnSpc="1">
            <a:prstTxWarp prst="textNoShape">
              <a:avLst/>
            </a:prstTxWarp>
          </a:bodyPr>
          <a:lstStyle/>
          <a:p>
            <a:pPr marL="0" marR="0" lvl="0" indent="0" algn="ctr" defTabSz="914102" eaLnBrk="1" fontAlgn="base" latinLnBrk="0" hangingPunct="1">
              <a:lnSpc>
                <a:spcPct val="100000"/>
              </a:lnSpc>
              <a:spcBef>
                <a:spcPct val="0"/>
              </a:spcBef>
              <a:spcAft>
                <a:spcPts val="588"/>
              </a:spcAft>
              <a:buClrTx/>
              <a:buSzTx/>
              <a:buFontTx/>
              <a:buNone/>
              <a:tabLst/>
              <a:defRPr/>
            </a:pPr>
            <a:endParaRPr kumimoji="0" lang="en-US" sz="1961" b="1" i="0" u="none" strike="noStrike" kern="0" cap="none" spc="0" normalizeH="0" baseline="0" noProof="0" dirty="0">
              <a:ln>
                <a:noFill/>
              </a:ln>
              <a:solidFill>
                <a:schemeClr val="bg1"/>
              </a:solidFill>
              <a:effectLst/>
              <a:uLnTx/>
              <a:uFillTx/>
            </a:endParaRPr>
          </a:p>
        </p:txBody>
      </p:sp>
      <p:sp>
        <p:nvSpPr>
          <p:cNvPr id="47" name="Rectangle 46"/>
          <p:cNvSpPr/>
          <p:nvPr/>
        </p:nvSpPr>
        <p:spPr bwMode="auto">
          <a:xfrm>
            <a:off x="667938" y="2683891"/>
            <a:ext cx="3547872" cy="943243"/>
          </a:xfrm>
          <a:prstGeom prst="rect">
            <a:avLst/>
          </a:prstGeom>
          <a:solidFill>
            <a:schemeClr val="tx2">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ts val="588"/>
              </a:spcAft>
              <a:buClrTx/>
              <a:buSzTx/>
              <a:buFontTx/>
              <a:buNone/>
              <a:tabLst/>
              <a:defRPr/>
            </a:pPr>
            <a:r>
              <a:rPr kumimoji="0" lang="en-US" sz="2000" b="1" i="0" u="none" strike="noStrike" kern="0" cap="none" spc="0" normalizeH="0" baseline="0" noProof="0" dirty="0">
                <a:ln>
                  <a:noFill/>
                </a:ln>
                <a:solidFill>
                  <a:schemeClr val="bg1"/>
                </a:solidFill>
                <a:effectLst/>
                <a:uLnTx/>
                <a:uFillTx/>
              </a:rPr>
              <a:t>SECURITY</a:t>
            </a:r>
          </a:p>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dvanced Enterprise Protection</a:t>
            </a:r>
          </a:p>
        </p:txBody>
      </p:sp>
      <p:sp>
        <p:nvSpPr>
          <p:cNvPr id="48" name="Freeform 26"/>
          <p:cNvSpPr>
            <a:spLocks noChangeAspect="1" noEditPoints="1"/>
          </p:cNvSpPr>
          <p:nvPr/>
        </p:nvSpPr>
        <p:spPr bwMode="auto">
          <a:xfrm>
            <a:off x="2050047" y="1491930"/>
            <a:ext cx="785626" cy="1026036"/>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chemeClr val="tx2"/>
          </a:solidFill>
          <a:ln>
            <a:noFill/>
          </a:ln>
        </p:spPr>
        <p:txBody>
          <a:bodyPr vert="horz" wrap="square" lIns="89634" tIns="44817" rIns="89634" bIns="44817"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chemeClr val="bg1"/>
                  </a:gs>
                  <a:gs pos="100000">
                    <a:schemeClr val="bg1"/>
                  </a:gs>
                </a:gsLst>
                <a:lin ang="5400000" scaled="0"/>
              </a:gradFill>
              <a:effectLst/>
              <a:uLnTx/>
              <a:uFillTx/>
            </a:endParaRPr>
          </a:p>
        </p:txBody>
      </p:sp>
      <p:sp>
        <p:nvSpPr>
          <p:cNvPr id="50" name="Rectangle 49"/>
          <p:cNvSpPr/>
          <p:nvPr/>
        </p:nvSpPr>
        <p:spPr bwMode="auto">
          <a:xfrm>
            <a:off x="8000431" y="2686364"/>
            <a:ext cx="3547872" cy="943243"/>
          </a:xfrm>
          <a:prstGeom prst="rect">
            <a:avLst/>
          </a:prstGeom>
          <a:solidFill>
            <a:schemeClr val="tx2">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ts val="588"/>
              </a:spcAft>
              <a:buClrTx/>
              <a:buSzTx/>
              <a:buFontTx/>
              <a:buNone/>
              <a:tabLst/>
              <a:defRPr/>
            </a:pPr>
            <a:r>
              <a:rPr kumimoji="0" lang="en-US" sz="2000" b="1" i="0" u="none" strike="noStrike" kern="0" cap="none" spc="0" normalizeH="0" baseline="0" noProof="0" dirty="0">
                <a:ln>
                  <a:noFill/>
                </a:ln>
                <a:solidFill>
                  <a:schemeClr val="bg1"/>
                </a:solidFill>
                <a:effectLst/>
                <a:uLnTx/>
                <a:uFillTx/>
              </a:rPr>
              <a:t>VOICE</a:t>
            </a:r>
          </a:p>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Complete Cloud Communication</a:t>
            </a:r>
          </a:p>
        </p:txBody>
      </p:sp>
      <p:sp>
        <p:nvSpPr>
          <p:cNvPr id="51" name="Freeform 6"/>
          <p:cNvSpPr>
            <a:spLocks noEditPoints="1"/>
          </p:cNvSpPr>
          <p:nvPr/>
        </p:nvSpPr>
        <p:spPr bwMode="auto">
          <a:xfrm>
            <a:off x="9052427" y="1519260"/>
            <a:ext cx="1445852" cy="971376"/>
          </a:xfrm>
          <a:custGeom>
            <a:avLst/>
            <a:gdLst>
              <a:gd name="T0" fmla="*/ 941 w 4278"/>
              <a:gd name="T1" fmla="*/ 3123 h 3126"/>
              <a:gd name="T2" fmla="*/ 952 w 4278"/>
              <a:gd name="T3" fmla="*/ 2890 h 3126"/>
              <a:gd name="T4" fmla="*/ 969 w 4278"/>
              <a:gd name="T5" fmla="*/ 2542 h 3126"/>
              <a:gd name="T6" fmla="*/ 949 w 4278"/>
              <a:gd name="T7" fmla="*/ 2521 h 3126"/>
              <a:gd name="T8" fmla="*/ 575 w 4278"/>
              <a:gd name="T9" fmla="*/ 2352 h 3126"/>
              <a:gd name="T10" fmla="*/ 153 w 4278"/>
              <a:gd name="T11" fmla="*/ 1911 h 3126"/>
              <a:gd name="T12" fmla="*/ 239 w 4278"/>
              <a:gd name="T13" fmla="*/ 1025 h 3126"/>
              <a:gd name="T14" fmla="*/ 722 w 4278"/>
              <a:gd name="T15" fmla="*/ 641 h 3126"/>
              <a:gd name="T16" fmla="*/ 1511 w 4278"/>
              <a:gd name="T17" fmla="*/ 471 h 3126"/>
              <a:gd name="T18" fmla="*/ 1540 w 4278"/>
              <a:gd name="T19" fmla="*/ 462 h 3126"/>
              <a:gd name="T20" fmla="*/ 2170 w 4278"/>
              <a:gd name="T21" fmla="*/ 124 h 3126"/>
              <a:gd name="T22" fmla="*/ 3491 w 4278"/>
              <a:gd name="T23" fmla="*/ 205 h 3126"/>
              <a:gd name="T24" fmla="*/ 4068 w 4278"/>
              <a:gd name="T25" fmla="*/ 650 h 3126"/>
              <a:gd name="T26" fmla="*/ 4254 w 4278"/>
              <a:gd name="T27" fmla="*/ 1304 h 3126"/>
              <a:gd name="T28" fmla="*/ 4065 w 4278"/>
              <a:gd name="T29" fmla="*/ 1777 h 3126"/>
              <a:gd name="T30" fmla="*/ 3586 w 4278"/>
              <a:gd name="T31" fmla="*/ 2171 h 3126"/>
              <a:gd name="T32" fmla="*/ 3375 w 4278"/>
              <a:gd name="T33" fmla="*/ 2261 h 3126"/>
              <a:gd name="T34" fmla="*/ 3354 w 4278"/>
              <a:gd name="T35" fmla="*/ 2292 h 3126"/>
              <a:gd name="T36" fmla="*/ 3391 w 4278"/>
              <a:gd name="T37" fmla="*/ 3067 h 3126"/>
              <a:gd name="T38" fmla="*/ 3391 w 4278"/>
              <a:gd name="T39" fmla="*/ 3095 h 3126"/>
              <a:gd name="T40" fmla="*/ 3374 w 4278"/>
              <a:gd name="T41" fmla="*/ 3075 h 3126"/>
              <a:gd name="T42" fmla="*/ 2833 w 4278"/>
              <a:gd name="T43" fmla="*/ 2389 h 3126"/>
              <a:gd name="T44" fmla="*/ 2796 w 4278"/>
              <a:gd name="T45" fmla="*/ 2372 h 3126"/>
              <a:gd name="T46" fmla="*/ 2445 w 4278"/>
              <a:gd name="T47" fmla="*/ 2354 h 3126"/>
              <a:gd name="T48" fmla="*/ 2425 w 4278"/>
              <a:gd name="T49" fmla="*/ 2359 h 3126"/>
              <a:gd name="T50" fmla="*/ 1607 w 4278"/>
              <a:gd name="T51" fmla="*/ 2600 h 3126"/>
              <a:gd name="T52" fmla="*/ 1379 w 4278"/>
              <a:gd name="T53" fmla="*/ 2603 h 3126"/>
              <a:gd name="T54" fmla="*/ 1344 w 4278"/>
              <a:gd name="T55" fmla="*/ 2621 h 3126"/>
              <a:gd name="T56" fmla="*/ 959 w 4278"/>
              <a:gd name="T57" fmla="*/ 3109 h 3126"/>
              <a:gd name="T58" fmla="*/ 946 w 4278"/>
              <a:gd name="T59" fmla="*/ 3126 h 3126"/>
              <a:gd name="T60" fmla="*/ 941 w 4278"/>
              <a:gd name="T61" fmla="*/ 3123 h 3126"/>
              <a:gd name="T62" fmla="*/ 3171 w 4278"/>
              <a:gd name="T63" fmla="*/ 2509 h 3126"/>
              <a:gd name="T64" fmla="*/ 3172 w 4278"/>
              <a:gd name="T65" fmla="*/ 2496 h 3126"/>
              <a:gd name="T66" fmla="*/ 3156 w 4278"/>
              <a:gd name="T67" fmla="*/ 2151 h 3126"/>
              <a:gd name="T68" fmla="*/ 3175 w 4278"/>
              <a:gd name="T69" fmla="*/ 2123 h 3126"/>
              <a:gd name="T70" fmla="*/ 3516 w 4278"/>
              <a:gd name="T71" fmla="*/ 1992 h 3126"/>
              <a:gd name="T72" fmla="*/ 3951 w 4278"/>
              <a:gd name="T73" fmla="*/ 1604 h 3126"/>
              <a:gd name="T74" fmla="*/ 4063 w 4278"/>
              <a:gd name="T75" fmla="*/ 1142 h 3126"/>
              <a:gd name="T76" fmla="*/ 3854 w 4278"/>
              <a:gd name="T77" fmla="*/ 687 h 3126"/>
              <a:gd name="T78" fmla="*/ 3306 w 4278"/>
              <a:gd name="T79" fmla="*/ 336 h 3126"/>
              <a:gd name="T80" fmla="*/ 2599 w 4278"/>
              <a:gd name="T81" fmla="*/ 243 h 3126"/>
              <a:gd name="T82" fmla="*/ 1952 w 4278"/>
              <a:gd name="T83" fmla="*/ 412 h 3126"/>
              <a:gd name="T84" fmla="*/ 1523 w 4278"/>
              <a:gd name="T85" fmla="*/ 763 h 3126"/>
              <a:gd name="T86" fmla="*/ 1419 w 4278"/>
              <a:gd name="T87" fmla="*/ 1467 h 3126"/>
              <a:gd name="T88" fmla="*/ 1751 w 4278"/>
              <a:gd name="T89" fmla="*/ 1884 h 3126"/>
              <a:gd name="T90" fmla="*/ 2541 w 4278"/>
              <a:gd name="T91" fmla="*/ 2171 h 3126"/>
              <a:gd name="T92" fmla="*/ 2887 w 4278"/>
              <a:gd name="T93" fmla="*/ 2180 h 3126"/>
              <a:gd name="T94" fmla="*/ 2928 w 4278"/>
              <a:gd name="T95" fmla="*/ 2200 h 3126"/>
              <a:gd name="T96" fmla="*/ 3055 w 4278"/>
              <a:gd name="T97" fmla="*/ 2362 h 3126"/>
              <a:gd name="T98" fmla="*/ 3171 w 4278"/>
              <a:gd name="T99" fmla="*/ 2509 h 3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78" h="3126">
                <a:moveTo>
                  <a:pt x="941" y="3123"/>
                </a:moveTo>
                <a:cubicBezTo>
                  <a:pt x="945" y="3046"/>
                  <a:pt x="948" y="2968"/>
                  <a:pt x="952" y="2890"/>
                </a:cubicBezTo>
                <a:cubicBezTo>
                  <a:pt x="958" y="2774"/>
                  <a:pt x="963" y="2658"/>
                  <a:pt x="969" y="2542"/>
                </a:cubicBezTo>
                <a:cubicBezTo>
                  <a:pt x="970" y="2525"/>
                  <a:pt x="959" y="2524"/>
                  <a:pt x="949" y="2521"/>
                </a:cubicBezTo>
                <a:cubicBezTo>
                  <a:pt x="817" y="2480"/>
                  <a:pt x="692" y="2426"/>
                  <a:pt x="575" y="2352"/>
                </a:cubicBezTo>
                <a:cubicBezTo>
                  <a:pt x="397" y="2241"/>
                  <a:pt x="247" y="2102"/>
                  <a:pt x="153" y="1911"/>
                </a:cubicBezTo>
                <a:cubicBezTo>
                  <a:pt x="0" y="1599"/>
                  <a:pt x="37" y="1302"/>
                  <a:pt x="239" y="1025"/>
                </a:cubicBezTo>
                <a:cubicBezTo>
                  <a:pt x="364" y="852"/>
                  <a:pt x="532" y="731"/>
                  <a:pt x="722" y="641"/>
                </a:cubicBezTo>
                <a:cubicBezTo>
                  <a:pt x="972" y="522"/>
                  <a:pt x="1236" y="470"/>
                  <a:pt x="1511" y="471"/>
                </a:cubicBezTo>
                <a:cubicBezTo>
                  <a:pt x="1521" y="471"/>
                  <a:pt x="1533" y="468"/>
                  <a:pt x="1540" y="462"/>
                </a:cubicBezTo>
                <a:cubicBezTo>
                  <a:pt x="1723" y="299"/>
                  <a:pt x="1935" y="189"/>
                  <a:pt x="2170" y="124"/>
                </a:cubicBezTo>
                <a:cubicBezTo>
                  <a:pt x="2619" y="0"/>
                  <a:pt x="3061" y="21"/>
                  <a:pt x="3491" y="205"/>
                </a:cubicBezTo>
                <a:cubicBezTo>
                  <a:pt x="3721" y="303"/>
                  <a:pt x="3919" y="446"/>
                  <a:pt x="4068" y="650"/>
                </a:cubicBezTo>
                <a:cubicBezTo>
                  <a:pt x="4211" y="845"/>
                  <a:pt x="4278" y="1061"/>
                  <a:pt x="4254" y="1304"/>
                </a:cubicBezTo>
                <a:cubicBezTo>
                  <a:pt x="4236" y="1479"/>
                  <a:pt x="4170" y="1636"/>
                  <a:pt x="4065" y="1777"/>
                </a:cubicBezTo>
                <a:cubicBezTo>
                  <a:pt x="3939" y="1948"/>
                  <a:pt x="3775" y="2076"/>
                  <a:pt x="3586" y="2171"/>
                </a:cubicBezTo>
                <a:cubicBezTo>
                  <a:pt x="3518" y="2205"/>
                  <a:pt x="3446" y="2232"/>
                  <a:pt x="3375" y="2261"/>
                </a:cubicBezTo>
                <a:cubicBezTo>
                  <a:pt x="3359" y="2268"/>
                  <a:pt x="3353" y="2274"/>
                  <a:pt x="3354" y="2292"/>
                </a:cubicBezTo>
                <a:cubicBezTo>
                  <a:pt x="3367" y="2550"/>
                  <a:pt x="3379" y="2809"/>
                  <a:pt x="3391" y="3067"/>
                </a:cubicBezTo>
                <a:cubicBezTo>
                  <a:pt x="3391" y="3075"/>
                  <a:pt x="3391" y="3082"/>
                  <a:pt x="3391" y="3095"/>
                </a:cubicBezTo>
                <a:cubicBezTo>
                  <a:pt x="3383" y="3086"/>
                  <a:pt x="3378" y="3081"/>
                  <a:pt x="3374" y="3075"/>
                </a:cubicBezTo>
                <a:cubicBezTo>
                  <a:pt x="3193" y="2847"/>
                  <a:pt x="3013" y="2618"/>
                  <a:pt x="2833" y="2389"/>
                </a:cubicBezTo>
                <a:cubicBezTo>
                  <a:pt x="2823" y="2376"/>
                  <a:pt x="2812" y="2372"/>
                  <a:pt x="2796" y="2372"/>
                </a:cubicBezTo>
                <a:cubicBezTo>
                  <a:pt x="2679" y="2374"/>
                  <a:pt x="2562" y="2370"/>
                  <a:pt x="2445" y="2354"/>
                </a:cubicBezTo>
                <a:cubicBezTo>
                  <a:pt x="2439" y="2353"/>
                  <a:pt x="2430" y="2356"/>
                  <a:pt x="2425" y="2359"/>
                </a:cubicBezTo>
                <a:cubicBezTo>
                  <a:pt x="2173" y="2510"/>
                  <a:pt x="1899" y="2585"/>
                  <a:pt x="1607" y="2600"/>
                </a:cubicBezTo>
                <a:cubicBezTo>
                  <a:pt x="1531" y="2604"/>
                  <a:pt x="1455" y="2603"/>
                  <a:pt x="1379" y="2603"/>
                </a:cubicBezTo>
                <a:cubicBezTo>
                  <a:pt x="1363" y="2603"/>
                  <a:pt x="1354" y="2609"/>
                  <a:pt x="1344" y="2621"/>
                </a:cubicBezTo>
                <a:cubicBezTo>
                  <a:pt x="1216" y="2784"/>
                  <a:pt x="1088" y="2946"/>
                  <a:pt x="959" y="3109"/>
                </a:cubicBezTo>
                <a:cubicBezTo>
                  <a:pt x="955" y="3115"/>
                  <a:pt x="950" y="3120"/>
                  <a:pt x="946" y="3126"/>
                </a:cubicBezTo>
                <a:cubicBezTo>
                  <a:pt x="944" y="3125"/>
                  <a:pt x="943" y="3124"/>
                  <a:pt x="941" y="3123"/>
                </a:cubicBezTo>
                <a:close/>
                <a:moveTo>
                  <a:pt x="3171" y="2509"/>
                </a:moveTo>
                <a:cubicBezTo>
                  <a:pt x="3172" y="2501"/>
                  <a:pt x="3172" y="2499"/>
                  <a:pt x="3172" y="2496"/>
                </a:cubicBezTo>
                <a:cubicBezTo>
                  <a:pt x="3167" y="2381"/>
                  <a:pt x="3162" y="2266"/>
                  <a:pt x="3156" y="2151"/>
                </a:cubicBezTo>
                <a:cubicBezTo>
                  <a:pt x="3155" y="2134"/>
                  <a:pt x="3159" y="2128"/>
                  <a:pt x="3175" y="2123"/>
                </a:cubicBezTo>
                <a:cubicBezTo>
                  <a:pt x="3293" y="2091"/>
                  <a:pt x="3407" y="2050"/>
                  <a:pt x="3516" y="1992"/>
                </a:cubicBezTo>
                <a:cubicBezTo>
                  <a:pt x="3692" y="1898"/>
                  <a:pt x="3844" y="1776"/>
                  <a:pt x="3951" y="1604"/>
                </a:cubicBezTo>
                <a:cubicBezTo>
                  <a:pt x="4039" y="1463"/>
                  <a:pt x="4079" y="1309"/>
                  <a:pt x="4063" y="1142"/>
                </a:cubicBezTo>
                <a:cubicBezTo>
                  <a:pt x="4047" y="966"/>
                  <a:pt x="3971" y="817"/>
                  <a:pt x="3854" y="687"/>
                </a:cubicBezTo>
                <a:cubicBezTo>
                  <a:pt x="3704" y="519"/>
                  <a:pt x="3516" y="410"/>
                  <a:pt x="3306" y="336"/>
                </a:cubicBezTo>
                <a:cubicBezTo>
                  <a:pt x="3077" y="256"/>
                  <a:pt x="2841" y="228"/>
                  <a:pt x="2599" y="243"/>
                </a:cubicBezTo>
                <a:cubicBezTo>
                  <a:pt x="2373" y="257"/>
                  <a:pt x="2156" y="310"/>
                  <a:pt x="1952" y="412"/>
                </a:cubicBezTo>
                <a:cubicBezTo>
                  <a:pt x="1782" y="496"/>
                  <a:pt x="1634" y="607"/>
                  <a:pt x="1523" y="763"/>
                </a:cubicBezTo>
                <a:cubicBezTo>
                  <a:pt x="1368" y="979"/>
                  <a:pt x="1325" y="1214"/>
                  <a:pt x="1419" y="1467"/>
                </a:cubicBezTo>
                <a:cubicBezTo>
                  <a:pt x="1484" y="1641"/>
                  <a:pt x="1603" y="1775"/>
                  <a:pt x="1751" y="1884"/>
                </a:cubicBezTo>
                <a:cubicBezTo>
                  <a:pt x="1986" y="2057"/>
                  <a:pt x="2253" y="2145"/>
                  <a:pt x="2541" y="2171"/>
                </a:cubicBezTo>
                <a:cubicBezTo>
                  <a:pt x="2656" y="2181"/>
                  <a:pt x="2772" y="2178"/>
                  <a:pt x="2887" y="2180"/>
                </a:cubicBezTo>
                <a:cubicBezTo>
                  <a:pt x="2906" y="2180"/>
                  <a:pt x="2917" y="2186"/>
                  <a:pt x="2928" y="2200"/>
                </a:cubicBezTo>
                <a:cubicBezTo>
                  <a:pt x="2970" y="2255"/>
                  <a:pt x="3013" y="2308"/>
                  <a:pt x="3055" y="2362"/>
                </a:cubicBezTo>
                <a:cubicBezTo>
                  <a:pt x="3093" y="2410"/>
                  <a:pt x="3131" y="2457"/>
                  <a:pt x="3171" y="2509"/>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3" name="Rectangle 52"/>
          <p:cNvSpPr/>
          <p:nvPr/>
        </p:nvSpPr>
        <p:spPr bwMode="auto">
          <a:xfrm>
            <a:off x="4334185" y="2683040"/>
            <a:ext cx="3547872" cy="943243"/>
          </a:xfrm>
          <a:prstGeom prst="rect">
            <a:avLst/>
          </a:prstGeom>
          <a:solidFill>
            <a:schemeClr val="tx2">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ts val="588"/>
              </a:spcAft>
              <a:buClrTx/>
              <a:buSzTx/>
              <a:buFontTx/>
              <a:buNone/>
              <a:tabLst/>
              <a:defRPr/>
            </a:pPr>
            <a:r>
              <a:rPr kumimoji="0" lang="en-US" sz="2000" b="1" i="0" u="none" strike="noStrike" kern="0" cap="none" spc="0" normalizeH="0" baseline="0" noProof="0" dirty="0">
                <a:ln>
                  <a:noFill/>
                </a:ln>
                <a:solidFill>
                  <a:schemeClr val="bg1"/>
                </a:solidFill>
                <a:effectLst/>
                <a:uLnTx/>
                <a:uFillTx/>
              </a:rPr>
              <a:t>ANALYTICS</a:t>
            </a:r>
          </a:p>
          <a:p>
            <a:pPr marL="0" marR="0" lvl="0" indent="0" algn="ctr"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Insights for Everyone</a:t>
            </a:r>
          </a:p>
        </p:txBody>
      </p:sp>
      <p:grpSp>
        <p:nvGrpSpPr>
          <p:cNvPr id="54" name="Group 9"/>
          <p:cNvGrpSpPr>
            <a:grpSpLocks noChangeAspect="1"/>
          </p:cNvGrpSpPr>
          <p:nvPr/>
        </p:nvGrpSpPr>
        <p:grpSpPr bwMode="auto">
          <a:xfrm>
            <a:off x="5565438" y="1457728"/>
            <a:ext cx="1087336" cy="1094440"/>
            <a:chOff x="3225" y="1504"/>
            <a:chExt cx="1378" cy="1387"/>
          </a:xfrm>
          <a:solidFill>
            <a:schemeClr val="tx2"/>
          </a:solidFill>
        </p:grpSpPr>
        <p:sp>
          <p:nvSpPr>
            <p:cNvPr id="55" name="Freeform 11"/>
            <p:cNvSpPr>
              <a:spLocks noEditPoints="1"/>
            </p:cNvSpPr>
            <p:nvPr/>
          </p:nvSpPr>
          <p:spPr bwMode="auto">
            <a:xfrm>
              <a:off x="3225" y="1504"/>
              <a:ext cx="1374" cy="712"/>
            </a:xfrm>
            <a:custGeom>
              <a:avLst/>
              <a:gdLst>
                <a:gd name="T0" fmla="*/ 1543 w 1543"/>
                <a:gd name="T1" fmla="*/ 150 h 801"/>
                <a:gd name="T2" fmla="*/ 1352 w 1543"/>
                <a:gd name="T3" fmla="*/ 309 h 801"/>
                <a:gd name="T4" fmla="*/ 1325 w 1543"/>
                <a:gd name="T5" fmla="*/ 317 h 801"/>
                <a:gd name="T6" fmla="*/ 1061 w 1543"/>
                <a:gd name="T7" fmla="*/ 573 h 801"/>
                <a:gd name="T8" fmla="*/ 1053 w 1543"/>
                <a:gd name="T9" fmla="*/ 600 h 801"/>
                <a:gd name="T10" fmla="*/ 988 w 1543"/>
                <a:gd name="T11" fmla="*/ 762 h 801"/>
                <a:gd name="T12" fmla="*/ 814 w 1543"/>
                <a:gd name="T13" fmla="*/ 756 h 801"/>
                <a:gd name="T14" fmla="*/ 761 w 1543"/>
                <a:gd name="T15" fmla="*/ 589 h 801"/>
                <a:gd name="T16" fmla="*/ 756 w 1543"/>
                <a:gd name="T17" fmla="*/ 562 h 801"/>
                <a:gd name="T18" fmla="*/ 597 w 1543"/>
                <a:gd name="T19" fmla="*/ 383 h 801"/>
                <a:gd name="T20" fmla="*/ 565 w 1543"/>
                <a:gd name="T21" fmla="*/ 371 h 801"/>
                <a:gd name="T22" fmla="*/ 513 w 1543"/>
                <a:gd name="T23" fmla="*/ 370 h 801"/>
                <a:gd name="T24" fmla="*/ 481 w 1543"/>
                <a:gd name="T25" fmla="*/ 381 h 801"/>
                <a:gd name="T26" fmla="*/ 312 w 1543"/>
                <a:gd name="T27" fmla="*/ 565 h 801"/>
                <a:gd name="T28" fmla="*/ 306 w 1543"/>
                <a:gd name="T29" fmla="*/ 591 h 801"/>
                <a:gd name="T30" fmla="*/ 190 w 1543"/>
                <a:gd name="T31" fmla="*/ 784 h 801"/>
                <a:gd name="T32" fmla="*/ 10 w 1543"/>
                <a:gd name="T33" fmla="*/ 655 h 801"/>
                <a:gd name="T34" fmla="*/ 154 w 1543"/>
                <a:gd name="T35" fmla="*/ 483 h 801"/>
                <a:gd name="T36" fmla="*/ 192 w 1543"/>
                <a:gd name="T37" fmla="*/ 487 h 801"/>
                <a:gd name="T38" fmla="*/ 218 w 1543"/>
                <a:gd name="T39" fmla="*/ 479 h 801"/>
                <a:gd name="T40" fmla="*/ 388 w 1543"/>
                <a:gd name="T41" fmla="*/ 294 h 801"/>
                <a:gd name="T42" fmla="*/ 395 w 1543"/>
                <a:gd name="T43" fmla="*/ 265 h 801"/>
                <a:gd name="T44" fmla="*/ 453 w 1543"/>
                <a:gd name="T45" fmla="*/ 98 h 801"/>
                <a:gd name="T46" fmla="*/ 627 w 1543"/>
                <a:gd name="T47" fmla="*/ 98 h 801"/>
                <a:gd name="T48" fmla="*/ 685 w 1543"/>
                <a:gd name="T49" fmla="*/ 267 h 801"/>
                <a:gd name="T50" fmla="*/ 690 w 1543"/>
                <a:gd name="T51" fmla="*/ 296 h 801"/>
                <a:gd name="T52" fmla="*/ 851 w 1543"/>
                <a:gd name="T53" fmla="*/ 477 h 801"/>
                <a:gd name="T54" fmla="*/ 878 w 1543"/>
                <a:gd name="T55" fmla="*/ 487 h 801"/>
                <a:gd name="T56" fmla="*/ 947 w 1543"/>
                <a:gd name="T57" fmla="*/ 489 h 801"/>
                <a:gd name="T58" fmla="*/ 969 w 1543"/>
                <a:gd name="T59" fmla="*/ 483 h 801"/>
                <a:gd name="T60" fmla="*/ 1237 w 1543"/>
                <a:gd name="T61" fmla="*/ 222 h 801"/>
                <a:gd name="T62" fmla="*/ 1243 w 1543"/>
                <a:gd name="T63" fmla="*/ 199 h 801"/>
                <a:gd name="T64" fmla="*/ 1296 w 1543"/>
                <a:gd name="T65" fmla="*/ 45 h 801"/>
                <a:gd name="T66" fmla="*/ 1456 w 1543"/>
                <a:gd name="T67" fmla="*/ 26 h 801"/>
                <a:gd name="T68" fmla="*/ 1543 w 1543"/>
                <a:gd name="T69" fmla="*/ 150 h 801"/>
                <a:gd name="T70" fmla="*/ 1392 w 1543"/>
                <a:gd name="T71" fmla="*/ 93 h 801"/>
                <a:gd name="T72" fmla="*/ 1321 w 1543"/>
                <a:gd name="T73" fmla="*/ 161 h 801"/>
                <a:gd name="T74" fmla="*/ 1390 w 1543"/>
                <a:gd name="T75" fmla="*/ 234 h 801"/>
                <a:gd name="T76" fmla="*/ 1462 w 1543"/>
                <a:gd name="T77" fmla="*/ 163 h 801"/>
                <a:gd name="T78" fmla="*/ 1392 w 1543"/>
                <a:gd name="T79" fmla="*/ 93 h 801"/>
                <a:gd name="T80" fmla="*/ 162 w 1543"/>
                <a:gd name="T81" fmla="*/ 565 h 801"/>
                <a:gd name="T82" fmla="*/ 91 w 1543"/>
                <a:gd name="T83" fmla="*/ 635 h 801"/>
                <a:gd name="T84" fmla="*/ 161 w 1543"/>
                <a:gd name="T85" fmla="*/ 705 h 801"/>
                <a:gd name="T86" fmla="*/ 231 w 1543"/>
                <a:gd name="T87" fmla="*/ 635 h 801"/>
                <a:gd name="T88" fmla="*/ 162 w 1543"/>
                <a:gd name="T89" fmla="*/ 565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43" h="801">
                  <a:moveTo>
                    <a:pt x="1543" y="150"/>
                  </a:moveTo>
                  <a:cubicBezTo>
                    <a:pt x="1543" y="263"/>
                    <a:pt x="1449" y="335"/>
                    <a:pt x="1352" y="309"/>
                  </a:cubicBezTo>
                  <a:cubicBezTo>
                    <a:pt x="1340" y="306"/>
                    <a:pt x="1333" y="308"/>
                    <a:pt x="1325" y="317"/>
                  </a:cubicBezTo>
                  <a:cubicBezTo>
                    <a:pt x="1237" y="402"/>
                    <a:pt x="1149" y="488"/>
                    <a:pt x="1061" y="573"/>
                  </a:cubicBezTo>
                  <a:cubicBezTo>
                    <a:pt x="1052" y="581"/>
                    <a:pt x="1050" y="588"/>
                    <a:pt x="1053" y="600"/>
                  </a:cubicBezTo>
                  <a:cubicBezTo>
                    <a:pt x="1068" y="663"/>
                    <a:pt x="1042" y="727"/>
                    <a:pt x="988" y="762"/>
                  </a:cubicBezTo>
                  <a:cubicBezTo>
                    <a:pt x="935" y="797"/>
                    <a:pt x="865" y="794"/>
                    <a:pt x="814" y="756"/>
                  </a:cubicBezTo>
                  <a:cubicBezTo>
                    <a:pt x="762" y="717"/>
                    <a:pt x="741" y="651"/>
                    <a:pt x="761" y="589"/>
                  </a:cubicBezTo>
                  <a:cubicBezTo>
                    <a:pt x="765" y="577"/>
                    <a:pt x="764" y="571"/>
                    <a:pt x="756" y="562"/>
                  </a:cubicBezTo>
                  <a:cubicBezTo>
                    <a:pt x="703" y="503"/>
                    <a:pt x="649" y="443"/>
                    <a:pt x="597" y="383"/>
                  </a:cubicBezTo>
                  <a:cubicBezTo>
                    <a:pt x="588" y="372"/>
                    <a:pt x="579" y="368"/>
                    <a:pt x="565" y="371"/>
                  </a:cubicBezTo>
                  <a:cubicBezTo>
                    <a:pt x="548" y="373"/>
                    <a:pt x="530" y="373"/>
                    <a:pt x="513" y="370"/>
                  </a:cubicBezTo>
                  <a:cubicBezTo>
                    <a:pt x="500" y="368"/>
                    <a:pt x="491" y="369"/>
                    <a:pt x="481" y="381"/>
                  </a:cubicBezTo>
                  <a:cubicBezTo>
                    <a:pt x="425" y="443"/>
                    <a:pt x="369" y="504"/>
                    <a:pt x="312" y="565"/>
                  </a:cubicBezTo>
                  <a:cubicBezTo>
                    <a:pt x="304" y="573"/>
                    <a:pt x="303" y="580"/>
                    <a:pt x="306" y="591"/>
                  </a:cubicBezTo>
                  <a:cubicBezTo>
                    <a:pt x="332" y="679"/>
                    <a:pt x="279" y="765"/>
                    <a:pt x="190" y="784"/>
                  </a:cubicBezTo>
                  <a:cubicBezTo>
                    <a:pt x="106" y="801"/>
                    <a:pt x="21" y="741"/>
                    <a:pt x="10" y="655"/>
                  </a:cubicBezTo>
                  <a:cubicBezTo>
                    <a:pt x="0" y="566"/>
                    <a:pt x="64" y="488"/>
                    <a:pt x="154" y="483"/>
                  </a:cubicBezTo>
                  <a:cubicBezTo>
                    <a:pt x="167" y="482"/>
                    <a:pt x="180" y="484"/>
                    <a:pt x="192" y="487"/>
                  </a:cubicBezTo>
                  <a:cubicBezTo>
                    <a:pt x="203" y="490"/>
                    <a:pt x="210" y="488"/>
                    <a:pt x="218" y="479"/>
                  </a:cubicBezTo>
                  <a:cubicBezTo>
                    <a:pt x="274" y="417"/>
                    <a:pt x="331" y="355"/>
                    <a:pt x="388" y="294"/>
                  </a:cubicBezTo>
                  <a:cubicBezTo>
                    <a:pt x="396" y="285"/>
                    <a:pt x="398" y="278"/>
                    <a:pt x="395" y="265"/>
                  </a:cubicBezTo>
                  <a:cubicBezTo>
                    <a:pt x="376" y="202"/>
                    <a:pt x="399" y="136"/>
                    <a:pt x="453" y="98"/>
                  </a:cubicBezTo>
                  <a:cubicBezTo>
                    <a:pt x="505" y="61"/>
                    <a:pt x="576" y="61"/>
                    <a:pt x="627" y="98"/>
                  </a:cubicBezTo>
                  <a:cubicBezTo>
                    <a:pt x="681" y="136"/>
                    <a:pt x="704" y="203"/>
                    <a:pt x="685" y="267"/>
                  </a:cubicBezTo>
                  <a:cubicBezTo>
                    <a:pt x="681" y="279"/>
                    <a:pt x="682" y="287"/>
                    <a:pt x="690" y="296"/>
                  </a:cubicBezTo>
                  <a:cubicBezTo>
                    <a:pt x="744" y="356"/>
                    <a:pt x="798" y="416"/>
                    <a:pt x="851" y="477"/>
                  </a:cubicBezTo>
                  <a:cubicBezTo>
                    <a:pt x="859" y="486"/>
                    <a:pt x="866" y="487"/>
                    <a:pt x="878" y="487"/>
                  </a:cubicBezTo>
                  <a:cubicBezTo>
                    <a:pt x="901" y="485"/>
                    <a:pt x="924" y="489"/>
                    <a:pt x="947" y="489"/>
                  </a:cubicBezTo>
                  <a:cubicBezTo>
                    <a:pt x="954" y="489"/>
                    <a:pt x="964" y="488"/>
                    <a:pt x="969" y="483"/>
                  </a:cubicBezTo>
                  <a:cubicBezTo>
                    <a:pt x="1059" y="397"/>
                    <a:pt x="1149" y="310"/>
                    <a:pt x="1237" y="222"/>
                  </a:cubicBezTo>
                  <a:cubicBezTo>
                    <a:pt x="1242" y="217"/>
                    <a:pt x="1245" y="206"/>
                    <a:pt x="1243" y="199"/>
                  </a:cubicBezTo>
                  <a:cubicBezTo>
                    <a:pt x="1231" y="137"/>
                    <a:pt x="1247" y="84"/>
                    <a:pt x="1296" y="45"/>
                  </a:cubicBezTo>
                  <a:cubicBezTo>
                    <a:pt x="1345" y="6"/>
                    <a:pt x="1400" y="0"/>
                    <a:pt x="1456" y="26"/>
                  </a:cubicBezTo>
                  <a:cubicBezTo>
                    <a:pt x="1513" y="53"/>
                    <a:pt x="1541" y="100"/>
                    <a:pt x="1543" y="150"/>
                  </a:cubicBezTo>
                  <a:close/>
                  <a:moveTo>
                    <a:pt x="1392" y="93"/>
                  </a:moveTo>
                  <a:cubicBezTo>
                    <a:pt x="1353" y="93"/>
                    <a:pt x="1322" y="123"/>
                    <a:pt x="1321" y="161"/>
                  </a:cubicBezTo>
                  <a:cubicBezTo>
                    <a:pt x="1320" y="201"/>
                    <a:pt x="1351" y="233"/>
                    <a:pt x="1390" y="234"/>
                  </a:cubicBezTo>
                  <a:cubicBezTo>
                    <a:pt x="1429" y="234"/>
                    <a:pt x="1462" y="202"/>
                    <a:pt x="1462" y="163"/>
                  </a:cubicBezTo>
                  <a:cubicBezTo>
                    <a:pt x="1462" y="125"/>
                    <a:pt x="1430" y="93"/>
                    <a:pt x="1392" y="93"/>
                  </a:cubicBezTo>
                  <a:close/>
                  <a:moveTo>
                    <a:pt x="162" y="565"/>
                  </a:moveTo>
                  <a:cubicBezTo>
                    <a:pt x="122" y="565"/>
                    <a:pt x="90" y="596"/>
                    <a:pt x="91" y="635"/>
                  </a:cubicBezTo>
                  <a:cubicBezTo>
                    <a:pt x="91" y="673"/>
                    <a:pt x="123" y="706"/>
                    <a:pt x="161" y="705"/>
                  </a:cubicBezTo>
                  <a:cubicBezTo>
                    <a:pt x="200" y="705"/>
                    <a:pt x="231" y="674"/>
                    <a:pt x="231" y="635"/>
                  </a:cubicBezTo>
                  <a:cubicBezTo>
                    <a:pt x="231" y="596"/>
                    <a:pt x="201" y="565"/>
                    <a:pt x="162" y="5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6" name="Freeform 12"/>
            <p:cNvSpPr>
              <a:spLocks/>
            </p:cNvSpPr>
            <p:nvPr/>
          </p:nvSpPr>
          <p:spPr bwMode="auto">
            <a:xfrm>
              <a:off x="4311" y="2091"/>
              <a:ext cx="292" cy="796"/>
            </a:xfrm>
            <a:custGeom>
              <a:avLst/>
              <a:gdLst>
                <a:gd name="T0" fmla="*/ 328 w 328"/>
                <a:gd name="T1" fmla="*/ 449 h 897"/>
                <a:gd name="T2" fmla="*/ 328 w 328"/>
                <a:gd name="T3" fmla="*/ 857 h 897"/>
                <a:gd name="T4" fmla="*/ 288 w 328"/>
                <a:gd name="T5" fmla="*/ 897 h 897"/>
                <a:gd name="T6" fmla="*/ 40 w 328"/>
                <a:gd name="T7" fmla="*/ 897 h 897"/>
                <a:gd name="T8" fmla="*/ 0 w 328"/>
                <a:gd name="T9" fmla="*/ 858 h 897"/>
                <a:gd name="T10" fmla="*/ 0 w 328"/>
                <a:gd name="T11" fmla="*/ 38 h 897"/>
                <a:gd name="T12" fmla="*/ 39 w 328"/>
                <a:gd name="T13" fmla="*/ 0 h 897"/>
                <a:gd name="T14" fmla="*/ 288 w 328"/>
                <a:gd name="T15" fmla="*/ 0 h 897"/>
                <a:gd name="T16" fmla="*/ 328 w 328"/>
                <a:gd name="T17" fmla="*/ 39 h 897"/>
                <a:gd name="T18" fmla="*/ 328 w 328"/>
                <a:gd name="T19" fmla="*/ 44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897">
                  <a:moveTo>
                    <a:pt x="328" y="449"/>
                  </a:moveTo>
                  <a:cubicBezTo>
                    <a:pt x="328" y="585"/>
                    <a:pt x="328" y="721"/>
                    <a:pt x="328" y="857"/>
                  </a:cubicBezTo>
                  <a:cubicBezTo>
                    <a:pt x="328" y="888"/>
                    <a:pt x="319" y="897"/>
                    <a:pt x="288" y="897"/>
                  </a:cubicBezTo>
                  <a:cubicBezTo>
                    <a:pt x="205" y="897"/>
                    <a:pt x="122" y="897"/>
                    <a:pt x="40" y="897"/>
                  </a:cubicBezTo>
                  <a:cubicBezTo>
                    <a:pt x="10" y="897"/>
                    <a:pt x="0" y="888"/>
                    <a:pt x="0" y="858"/>
                  </a:cubicBezTo>
                  <a:cubicBezTo>
                    <a:pt x="0" y="585"/>
                    <a:pt x="0" y="312"/>
                    <a:pt x="0" y="38"/>
                  </a:cubicBezTo>
                  <a:cubicBezTo>
                    <a:pt x="0" y="10"/>
                    <a:pt x="10" y="0"/>
                    <a:pt x="39" y="0"/>
                  </a:cubicBezTo>
                  <a:cubicBezTo>
                    <a:pt x="122" y="0"/>
                    <a:pt x="205" y="0"/>
                    <a:pt x="288" y="0"/>
                  </a:cubicBezTo>
                  <a:cubicBezTo>
                    <a:pt x="319" y="0"/>
                    <a:pt x="328" y="9"/>
                    <a:pt x="328" y="39"/>
                  </a:cubicBezTo>
                  <a:cubicBezTo>
                    <a:pt x="328" y="176"/>
                    <a:pt x="328" y="312"/>
                    <a:pt x="328" y="4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7" name="Freeform 13"/>
            <p:cNvSpPr>
              <a:spLocks/>
            </p:cNvSpPr>
            <p:nvPr/>
          </p:nvSpPr>
          <p:spPr bwMode="auto">
            <a:xfrm>
              <a:off x="3590" y="2242"/>
              <a:ext cx="292" cy="649"/>
            </a:xfrm>
            <a:custGeom>
              <a:avLst/>
              <a:gdLst>
                <a:gd name="T0" fmla="*/ 328 w 328"/>
                <a:gd name="T1" fmla="*/ 366 h 731"/>
                <a:gd name="T2" fmla="*/ 328 w 328"/>
                <a:gd name="T3" fmla="*/ 692 h 731"/>
                <a:gd name="T4" fmla="*/ 289 w 328"/>
                <a:gd name="T5" fmla="*/ 731 h 731"/>
                <a:gd name="T6" fmla="*/ 39 w 328"/>
                <a:gd name="T7" fmla="*/ 731 h 731"/>
                <a:gd name="T8" fmla="*/ 0 w 328"/>
                <a:gd name="T9" fmla="*/ 692 h 731"/>
                <a:gd name="T10" fmla="*/ 0 w 328"/>
                <a:gd name="T11" fmla="*/ 38 h 731"/>
                <a:gd name="T12" fmla="*/ 38 w 328"/>
                <a:gd name="T13" fmla="*/ 0 h 731"/>
                <a:gd name="T14" fmla="*/ 290 w 328"/>
                <a:gd name="T15" fmla="*/ 0 h 731"/>
                <a:gd name="T16" fmla="*/ 328 w 328"/>
                <a:gd name="T17" fmla="*/ 38 h 731"/>
                <a:gd name="T18" fmla="*/ 328 w 328"/>
                <a:gd name="T19" fmla="*/ 366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731">
                  <a:moveTo>
                    <a:pt x="328" y="366"/>
                  </a:moveTo>
                  <a:cubicBezTo>
                    <a:pt x="328" y="475"/>
                    <a:pt x="328" y="583"/>
                    <a:pt x="328" y="692"/>
                  </a:cubicBezTo>
                  <a:cubicBezTo>
                    <a:pt x="328" y="722"/>
                    <a:pt x="319" y="731"/>
                    <a:pt x="289" y="731"/>
                  </a:cubicBezTo>
                  <a:cubicBezTo>
                    <a:pt x="205" y="731"/>
                    <a:pt x="122" y="731"/>
                    <a:pt x="39" y="731"/>
                  </a:cubicBezTo>
                  <a:cubicBezTo>
                    <a:pt x="10" y="731"/>
                    <a:pt x="1" y="721"/>
                    <a:pt x="0" y="692"/>
                  </a:cubicBezTo>
                  <a:cubicBezTo>
                    <a:pt x="0" y="474"/>
                    <a:pt x="0" y="256"/>
                    <a:pt x="0" y="38"/>
                  </a:cubicBezTo>
                  <a:cubicBezTo>
                    <a:pt x="0" y="9"/>
                    <a:pt x="10" y="0"/>
                    <a:pt x="38" y="0"/>
                  </a:cubicBezTo>
                  <a:cubicBezTo>
                    <a:pt x="122" y="0"/>
                    <a:pt x="206" y="0"/>
                    <a:pt x="290" y="0"/>
                  </a:cubicBezTo>
                  <a:cubicBezTo>
                    <a:pt x="319" y="0"/>
                    <a:pt x="328" y="9"/>
                    <a:pt x="328" y="38"/>
                  </a:cubicBezTo>
                  <a:cubicBezTo>
                    <a:pt x="328" y="147"/>
                    <a:pt x="328" y="257"/>
                    <a:pt x="328" y="3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8" name="Freeform 14"/>
            <p:cNvSpPr>
              <a:spLocks/>
            </p:cNvSpPr>
            <p:nvPr/>
          </p:nvSpPr>
          <p:spPr bwMode="auto">
            <a:xfrm>
              <a:off x="3949" y="2362"/>
              <a:ext cx="292" cy="529"/>
            </a:xfrm>
            <a:custGeom>
              <a:avLst/>
              <a:gdLst>
                <a:gd name="T0" fmla="*/ 1 w 328"/>
                <a:gd name="T1" fmla="*/ 296 h 595"/>
                <a:gd name="T2" fmla="*/ 1 w 328"/>
                <a:gd name="T3" fmla="*/ 38 h 595"/>
                <a:gd name="T4" fmla="*/ 38 w 328"/>
                <a:gd name="T5" fmla="*/ 0 h 595"/>
                <a:gd name="T6" fmla="*/ 292 w 328"/>
                <a:gd name="T7" fmla="*/ 0 h 595"/>
                <a:gd name="T8" fmla="*/ 328 w 328"/>
                <a:gd name="T9" fmla="*/ 35 h 595"/>
                <a:gd name="T10" fmla="*/ 328 w 328"/>
                <a:gd name="T11" fmla="*/ 560 h 595"/>
                <a:gd name="T12" fmla="*/ 294 w 328"/>
                <a:gd name="T13" fmla="*/ 595 h 595"/>
                <a:gd name="T14" fmla="*/ 34 w 328"/>
                <a:gd name="T15" fmla="*/ 595 h 595"/>
                <a:gd name="T16" fmla="*/ 1 w 328"/>
                <a:gd name="T17" fmla="*/ 560 h 595"/>
                <a:gd name="T18" fmla="*/ 1 w 328"/>
                <a:gd name="T19" fmla="*/ 296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595">
                  <a:moveTo>
                    <a:pt x="1" y="296"/>
                  </a:moveTo>
                  <a:cubicBezTo>
                    <a:pt x="1" y="210"/>
                    <a:pt x="0" y="124"/>
                    <a:pt x="1" y="38"/>
                  </a:cubicBezTo>
                  <a:cubicBezTo>
                    <a:pt x="1" y="9"/>
                    <a:pt x="9" y="0"/>
                    <a:pt x="38" y="0"/>
                  </a:cubicBezTo>
                  <a:cubicBezTo>
                    <a:pt x="123" y="0"/>
                    <a:pt x="208" y="0"/>
                    <a:pt x="292" y="0"/>
                  </a:cubicBezTo>
                  <a:cubicBezTo>
                    <a:pt x="317" y="0"/>
                    <a:pt x="328" y="10"/>
                    <a:pt x="328" y="35"/>
                  </a:cubicBezTo>
                  <a:cubicBezTo>
                    <a:pt x="328" y="210"/>
                    <a:pt x="328" y="385"/>
                    <a:pt x="328" y="560"/>
                  </a:cubicBezTo>
                  <a:cubicBezTo>
                    <a:pt x="328" y="584"/>
                    <a:pt x="317" y="595"/>
                    <a:pt x="294" y="595"/>
                  </a:cubicBezTo>
                  <a:cubicBezTo>
                    <a:pt x="207" y="595"/>
                    <a:pt x="121" y="595"/>
                    <a:pt x="34" y="595"/>
                  </a:cubicBezTo>
                  <a:cubicBezTo>
                    <a:pt x="11" y="595"/>
                    <a:pt x="1" y="584"/>
                    <a:pt x="1" y="560"/>
                  </a:cubicBezTo>
                  <a:cubicBezTo>
                    <a:pt x="0" y="472"/>
                    <a:pt x="1" y="384"/>
                    <a:pt x="1" y="2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59" name="Freeform 15"/>
            <p:cNvSpPr>
              <a:spLocks/>
            </p:cNvSpPr>
            <p:nvPr/>
          </p:nvSpPr>
          <p:spPr bwMode="auto">
            <a:xfrm>
              <a:off x="3225" y="2465"/>
              <a:ext cx="292" cy="422"/>
            </a:xfrm>
            <a:custGeom>
              <a:avLst/>
              <a:gdLst>
                <a:gd name="T0" fmla="*/ 0 w 328"/>
                <a:gd name="T1" fmla="*/ 237 h 475"/>
                <a:gd name="T2" fmla="*/ 0 w 328"/>
                <a:gd name="T3" fmla="*/ 37 h 475"/>
                <a:gd name="T4" fmla="*/ 39 w 328"/>
                <a:gd name="T5" fmla="*/ 0 h 475"/>
                <a:gd name="T6" fmla="*/ 289 w 328"/>
                <a:gd name="T7" fmla="*/ 0 h 475"/>
                <a:gd name="T8" fmla="*/ 328 w 328"/>
                <a:gd name="T9" fmla="*/ 39 h 475"/>
                <a:gd name="T10" fmla="*/ 328 w 328"/>
                <a:gd name="T11" fmla="*/ 435 h 475"/>
                <a:gd name="T12" fmla="*/ 287 w 328"/>
                <a:gd name="T13" fmla="*/ 475 h 475"/>
                <a:gd name="T14" fmla="*/ 39 w 328"/>
                <a:gd name="T15" fmla="*/ 475 h 475"/>
                <a:gd name="T16" fmla="*/ 0 w 328"/>
                <a:gd name="T17" fmla="*/ 437 h 475"/>
                <a:gd name="T18" fmla="*/ 0 w 328"/>
                <a:gd name="T19" fmla="*/ 237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475">
                  <a:moveTo>
                    <a:pt x="0" y="237"/>
                  </a:moveTo>
                  <a:cubicBezTo>
                    <a:pt x="0" y="171"/>
                    <a:pt x="0" y="104"/>
                    <a:pt x="0" y="37"/>
                  </a:cubicBezTo>
                  <a:cubicBezTo>
                    <a:pt x="0" y="8"/>
                    <a:pt x="9" y="0"/>
                    <a:pt x="39" y="0"/>
                  </a:cubicBezTo>
                  <a:cubicBezTo>
                    <a:pt x="122" y="0"/>
                    <a:pt x="205" y="0"/>
                    <a:pt x="289" y="0"/>
                  </a:cubicBezTo>
                  <a:cubicBezTo>
                    <a:pt x="319" y="0"/>
                    <a:pt x="328" y="9"/>
                    <a:pt x="328" y="39"/>
                  </a:cubicBezTo>
                  <a:cubicBezTo>
                    <a:pt x="328" y="171"/>
                    <a:pt x="328" y="303"/>
                    <a:pt x="328" y="435"/>
                  </a:cubicBezTo>
                  <a:cubicBezTo>
                    <a:pt x="328" y="466"/>
                    <a:pt x="318" y="475"/>
                    <a:pt x="287" y="475"/>
                  </a:cubicBezTo>
                  <a:cubicBezTo>
                    <a:pt x="204" y="475"/>
                    <a:pt x="122" y="475"/>
                    <a:pt x="39" y="475"/>
                  </a:cubicBezTo>
                  <a:cubicBezTo>
                    <a:pt x="10" y="475"/>
                    <a:pt x="0" y="466"/>
                    <a:pt x="0" y="437"/>
                  </a:cubicBezTo>
                  <a:cubicBezTo>
                    <a:pt x="0" y="371"/>
                    <a:pt x="0" y="304"/>
                    <a:pt x="0" y="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
        <p:nvSpPr>
          <p:cNvPr id="4" name="Slide Number Placeholder 3"/>
          <p:cNvSpPr>
            <a:spLocks noGrp="1"/>
          </p:cNvSpPr>
          <p:nvPr>
            <p:ph type="sldNum" sz="quarter" idx="1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rPr>
              <a:t> </a:t>
            </a:r>
          </a:p>
        </p:txBody>
      </p:sp>
    </p:spTree>
    <p:extLst>
      <p:ext uri="{BB962C8B-B14F-4D97-AF65-F5344CB8AC3E}">
        <p14:creationId xmlns:p14="http://schemas.microsoft.com/office/powerpoint/2010/main" val="214491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5" imgW="378" imgH="377" progId="TCLayout.ActiveDocument.1">
                  <p:embed/>
                </p:oleObj>
              </mc:Choice>
              <mc:Fallback>
                <p:oleObj name="think-cell Slide" r:id="rId5" imgW="378" imgH="377"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1" y="0"/>
            <a:ext cx="5326380" cy="6858000"/>
          </a:xfrm>
          <a:prstGeom prst="rect">
            <a:avLst/>
          </a:prstGeom>
        </p:spPr>
      </p:pic>
      <p:sp>
        <p:nvSpPr>
          <p:cNvPr id="63" name="Rectangle 62"/>
          <p:cNvSpPr/>
          <p:nvPr/>
        </p:nvSpPr>
        <p:spPr bwMode="auto">
          <a:xfrm>
            <a:off x="1" y="4502552"/>
            <a:ext cx="5326380" cy="2355448"/>
          </a:xfrm>
          <a:prstGeom prst="rect">
            <a:avLst/>
          </a:prstGeom>
          <a:gradFill flip="none" rotWithShape="1">
            <a:gsLst>
              <a:gs pos="0">
                <a:schemeClr val="tx1">
                  <a:alpha val="0"/>
                </a:schemeClr>
              </a:gs>
              <a:gs pos="51111">
                <a:srgbClr val="000000">
                  <a:alpha val="48000"/>
                </a:srgbClr>
              </a:gs>
              <a:gs pos="100000">
                <a:schemeClr val="tx1">
                  <a:alpha val="71000"/>
                </a:schemeClr>
              </a:gs>
            </a:gsLst>
            <a:lin ang="540000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365760" rtlCol="0" anchor="b" anchorCtr="0"/>
          <a:lstStyle/>
          <a:p>
            <a:pPr algn="ctr" defTabSz="913861">
              <a:spcAft>
                <a:spcPts val="600"/>
              </a:spcAft>
            </a:pPr>
            <a:r>
              <a:rPr lang="en-US" sz="4400" kern="0" dirty="0">
                <a:solidFill>
                  <a:schemeClr val="accent1"/>
                </a:solidFill>
              </a:rPr>
              <a:t>317 Million </a:t>
            </a:r>
            <a:br>
              <a:rPr lang="en-US" sz="4400" kern="0" dirty="0">
                <a:solidFill>
                  <a:schemeClr val="accent1"/>
                </a:solidFill>
              </a:rPr>
            </a:br>
            <a:r>
              <a:rPr lang="en-US" sz="2000" kern="0" dirty="0">
                <a:solidFill>
                  <a:schemeClr val="bg1"/>
                </a:solidFill>
              </a:rPr>
              <a:t>New pieces of malware created in past year*</a:t>
            </a:r>
            <a:endParaRPr lang="en-US" sz="2000" i="1" kern="0" dirty="0">
              <a:solidFill>
                <a:schemeClr val="bg1"/>
              </a:solidFill>
            </a:endParaRPr>
          </a:p>
        </p:txBody>
      </p:sp>
      <p:sp>
        <p:nvSpPr>
          <p:cNvPr id="64" name="Title 2"/>
          <p:cNvSpPr txBox="1">
            <a:spLocks/>
          </p:cNvSpPr>
          <p:nvPr/>
        </p:nvSpPr>
        <p:spPr>
          <a:xfrm>
            <a:off x="5704115" y="191249"/>
            <a:ext cx="6487884" cy="1066460"/>
          </a:xfrm>
          <a:prstGeom prst="rect">
            <a:avLst/>
          </a:prstGeom>
        </p:spPr>
        <p:txBody>
          <a:bodyPr lIns="0"/>
          <a:lstStyle>
            <a:lvl1pPr marL="0" algn="l" defTabSz="1109731" rtl="0" eaLnBrk="1" latinLnBrk="0" hangingPunct="1">
              <a:lnSpc>
                <a:spcPct val="90000"/>
              </a:lnSpc>
              <a:spcBef>
                <a:spcPct val="0"/>
              </a:spcBef>
              <a:buNone/>
              <a:defRPr lang="en-US" sz="4896"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sz="4800" spc="-100" dirty="0">
                <a:cs typeface="Segoe UI" panose="020B0502040204020203" pitchFamily="34" charset="0"/>
              </a:rPr>
              <a:t>Security</a:t>
            </a:r>
          </a:p>
        </p:txBody>
      </p:sp>
      <p:sp>
        <p:nvSpPr>
          <p:cNvPr id="65" name="TextBox 64"/>
          <p:cNvSpPr txBox="1"/>
          <p:nvPr/>
        </p:nvSpPr>
        <p:spPr>
          <a:xfrm>
            <a:off x="5707744" y="852259"/>
            <a:ext cx="6352451" cy="546100"/>
          </a:xfrm>
          <a:prstGeom prst="rect">
            <a:avLst/>
          </a:prstGeom>
          <a:noFill/>
        </p:spPr>
        <p:txBody>
          <a:bodyPr vert="horz" wrap="square" lIns="0" tIns="91440" rIns="91440" bIns="91440" rtlCol="0" anchor="ctr">
            <a:noAutofit/>
          </a:bodyPr>
          <a:lstStyle/>
          <a:p>
            <a:r>
              <a:rPr lang="en-US" sz="2800" kern="0" dirty="0">
                <a:solidFill>
                  <a:schemeClr val="tx1">
                    <a:lumMod val="75000"/>
                    <a:lumOff val="25000"/>
                  </a:schemeClr>
                </a:solidFill>
                <a:latin typeface="+mj-lt"/>
                <a:cs typeface="Segoe UI Semibold" panose="020B0702040204020203" pitchFamily="34" charset="0"/>
              </a:rPr>
              <a:t>Advanced Enterprise Protection</a:t>
            </a:r>
          </a:p>
        </p:txBody>
      </p:sp>
      <p:sp>
        <p:nvSpPr>
          <p:cNvPr id="66" name="TextBox 65"/>
          <p:cNvSpPr txBox="1"/>
          <p:nvPr/>
        </p:nvSpPr>
        <p:spPr>
          <a:xfrm>
            <a:off x="112542" y="6471897"/>
            <a:ext cx="5326380" cy="304799"/>
          </a:xfrm>
          <a:prstGeom prst="rect">
            <a:avLst/>
          </a:prstGeom>
          <a:noFill/>
          <a:ln>
            <a:noFill/>
          </a:ln>
        </p:spPr>
        <p:txBody>
          <a:bodyPr vert="horz" wrap="square" lIns="91440" tIns="45720" rIns="91440" bIns="45720" rtlCol="0" anchor="ctr">
            <a:noAutofit/>
          </a:bodyPr>
          <a:lstStyle/>
          <a:p>
            <a:r>
              <a:rPr lang="en-US" sz="1100" dirty="0">
                <a:solidFill>
                  <a:schemeClr val="bg1"/>
                </a:solidFill>
              </a:rPr>
              <a:t>*Symantec “Internet Security Threat Report”, 2015</a:t>
            </a:r>
            <a:endParaRPr lang="en-US" sz="1050" i="1" dirty="0">
              <a:solidFill>
                <a:schemeClr val="bg1"/>
              </a:solidFill>
            </a:endParaRPr>
          </a:p>
        </p:txBody>
      </p:sp>
      <p:sp>
        <p:nvSpPr>
          <p:cNvPr id="5" name="TextBox 4"/>
          <p:cNvSpPr txBox="1"/>
          <p:nvPr/>
        </p:nvSpPr>
        <p:spPr>
          <a:xfrm>
            <a:off x="681949" y="1982817"/>
            <a:ext cx="5022166" cy="2391508"/>
          </a:xfrm>
          <a:prstGeom prst="rect">
            <a:avLst/>
          </a:prstGeom>
        </p:spPr>
        <p:txBody>
          <a:bodyPr vert="horz" wrap="square" lIns="91440" tIns="91440" rIns="91440" bIns="91440" rtlCol="0" anchor="t">
            <a:noAutofit/>
          </a:bodyPr>
          <a:lstStyle/>
          <a:p>
            <a:pPr algn="ctr"/>
            <a:r>
              <a:rPr lang="en-US" sz="1600" dirty="0">
                <a:latin typeface="Segoe UI" pitchFamily="34" charset="0"/>
                <a:ea typeface="Segoe UI" pitchFamily="34" charset="0"/>
                <a:cs typeface="Segoe UI" pitchFamily="34" charset="0"/>
              </a:rPr>
              <a:t>Text</a:t>
            </a:r>
          </a:p>
        </p:txBody>
      </p:sp>
      <p:sp>
        <p:nvSpPr>
          <p:cNvPr id="23" name="Rectangle 41"/>
          <p:cNvSpPr/>
          <p:nvPr/>
        </p:nvSpPr>
        <p:spPr>
          <a:xfrm>
            <a:off x="6434729" y="1706540"/>
            <a:ext cx="5582013" cy="711741"/>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Help protect your organization against unknown malware and viruses (Protect)</a:t>
            </a:r>
            <a:endParaRPr lang="en-US" kern="0"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24" name="Rectangle 42"/>
          <p:cNvSpPr/>
          <p:nvPr/>
        </p:nvSpPr>
        <p:spPr>
          <a:xfrm>
            <a:off x="6434729" y="2604316"/>
            <a:ext cx="5582013" cy="698550"/>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Gain enhanced visibility and control into Office 365 usage and security incidents (Detect)</a:t>
            </a:r>
          </a:p>
        </p:txBody>
      </p:sp>
      <p:sp>
        <p:nvSpPr>
          <p:cNvPr id="25" name="Rectangle 43"/>
          <p:cNvSpPr/>
          <p:nvPr/>
        </p:nvSpPr>
        <p:spPr>
          <a:xfrm>
            <a:off x="6434729" y="3488900"/>
            <a:ext cx="5518706" cy="698550"/>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Maintain explicit control over your data in the cloud (Respond)</a:t>
            </a:r>
            <a:endParaRPr lang="en-US" kern="0"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26" name="Freeform 25"/>
          <p:cNvSpPr/>
          <p:nvPr/>
        </p:nvSpPr>
        <p:spPr>
          <a:xfrm>
            <a:off x="6042990" y="1569264"/>
            <a:ext cx="5693397" cy="3382564"/>
          </a:xfrm>
          <a:custGeom>
            <a:avLst/>
            <a:gdLst>
              <a:gd name="connsiteX0" fmla="*/ 6235700 w 6235700"/>
              <a:gd name="connsiteY0" fmla="*/ 0 h 2946400"/>
              <a:gd name="connsiteX1" fmla="*/ 0 w 6235700"/>
              <a:gd name="connsiteY1" fmla="*/ 0 h 2946400"/>
              <a:gd name="connsiteX2" fmla="*/ 0 w 6235700"/>
              <a:gd name="connsiteY2" fmla="*/ 2946400 h 2946400"/>
            </a:gdLst>
            <a:ahLst/>
            <a:cxnLst>
              <a:cxn ang="0">
                <a:pos x="connsiteX0" y="connsiteY0"/>
              </a:cxn>
              <a:cxn ang="0">
                <a:pos x="connsiteX1" y="connsiteY1"/>
              </a:cxn>
              <a:cxn ang="0">
                <a:pos x="connsiteX2" y="connsiteY2"/>
              </a:cxn>
            </a:cxnLst>
            <a:rect l="l" t="t" r="r" b="b"/>
            <a:pathLst>
              <a:path w="6235700" h="2946400">
                <a:moveTo>
                  <a:pt x="6235700" y="0"/>
                </a:moveTo>
                <a:lnTo>
                  <a:pt x="0" y="0"/>
                </a:lnTo>
                <a:lnTo>
                  <a:pt x="0" y="2946400"/>
                </a:lnTo>
              </a:path>
            </a:pathLst>
          </a:cu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dirty="0"/>
          </a:p>
        </p:txBody>
      </p:sp>
      <p:sp>
        <p:nvSpPr>
          <p:cNvPr id="32" name="Diamond 31"/>
          <p:cNvSpPr/>
          <p:nvPr/>
        </p:nvSpPr>
        <p:spPr>
          <a:xfrm>
            <a:off x="5731551" y="1747629"/>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36" name="Diamond 35"/>
          <p:cNvSpPr/>
          <p:nvPr/>
        </p:nvSpPr>
        <p:spPr>
          <a:xfrm>
            <a:off x="5731551" y="2634191"/>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40" name="Diamond 39"/>
          <p:cNvSpPr/>
          <p:nvPr/>
        </p:nvSpPr>
        <p:spPr>
          <a:xfrm>
            <a:off x="5731551" y="3520753"/>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51" name="Diamond 50"/>
          <p:cNvSpPr/>
          <p:nvPr/>
        </p:nvSpPr>
        <p:spPr>
          <a:xfrm>
            <a:off x="5731551" y="4407314"/>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52" name="Rectangle 43"/>
          <p:cNvSpPr/>
          <p:nvPr/>
        </p:nvSpPr>
        <p:spPr>
          <a:xfrm>
            <a:off x="6434729" y="4386889"/>
            <a:ext cx="5518706" cy="698550"/>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Maintain compliance while streamlining the eDiscovery process to save time and money</a:t>
            </a:r>
          </a:p>
        </p:txBody>
      </p:sp>
      <p:grpSp>
        <p:nvGrpSpPr>
          <p:cNvPr id="54" name="Group 53"/>
          <p:cNvGrpSpPr/>
          <p:nvPr/>
        </p:nvGrpSpPr>
        <p:grpSpPr>
          <a:xfrm>
            <a:off x="5950239" y="3657417"/>
            <a:ext cx="185501" cy="287281"/>
            <a:chOff x="5018189" y="342970"/>
            <a:chExt cx="3975088" cy="6156137"/>
          </a:xfrm>
          <a:solidFill>
            <a:schemeClr val="tx2"/>
          </a:solidFill>
        </p:grpSpPr>
        <p:sp>
          <p:nvSpPr>
            <p:cNvPr id="55" name="Freeform 54"/>
            <p:cNvSpPr/>
            <p:nvPr/>
          </p:nvSpPr>
          <p:spPr>
            <a:xfrm>
              <a:off x="5073692" y="2755497"/>
              <a:ext cx="3902796" cy="940821"/>
            </a:xfrm>
            <a:custGeom>
              <a:avLst/>
              <a:gdLst/>
              <a:ahLst/>
              <a:cxnLst/>
              <a:rect l="l" t="t" r="r" b="b"/>
              <a:pathLst>
                <a:path w="3902796" h="940821">
                  <a:moveTo>
                    <a:pt x="1162008" y="0"/>
                  </a:moveTo>
                  <a:lnTo>
                    <a:pt x="2506833" y="164193"/>
                  </a:lnTo>
                  <a:lnTo>
                    <a:pt x="2593933" y="188115"/>
                  </a:lnTo>
                  <a:lnTo>
                    <a:pt x="2593933" y="632230"/>
                  </a:lnTo>
                  <a:cubicBezTo>
                    <a:pt x="2862750" y="867180"/>
                    <a:pt x="3261741" y="702080"/>
                    <a:pt x="3276558" y="603655"/>
                  </a:cubicBezTo>
                  <a:lnTo>
                    <a:pt x="3276558" y="375597"/>
                  </a:lnTo>
                  <a:lnTo>
                    <a:pt x="3902796" y="547592"/>
                  </a:lnTo>
                  <a:lnTo>
                    <a:pt x="3185151" y="940821"/>
                  </a:lnTo>
                  <a:lnTo>
                    <a:pt x="1356641" y="744207"/>
                  </a:lnTo>
                  <a:lnTo>
                    <a:pt x="0" y="282162"/>
                  </a:lnTo>
                  <a:lnTo>
                    <a:pt x="515311" y="77280"/>
                  </a:lnTo>
                  <a:lnTo>
                    <a:pt x="515311" y="255748"/>
                  </a:lnTo>
                  <a:cubicBezTo>
                    <a:pt x="811255" y="468473"/>
                    <a:pt x="1135272" y="338298"/>
                    <a:pt x="1162008" y="252573"/>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6" name="Freeform 55"/>
            <p:cNvSpPr/>
            <p:nvPr/>
          </p:nvSpPr>
          <p:spPr>
            <a:xfrm>
              <a:off x="5018189" y="3057317"/>
              <a:ext cx="3975088" cy="3441790"/>
            </a:xfrm>
            <a:custGeom>
              <a:avLst/>
              <a:gdLst>
                <a:gd name="connsiteX0" fmla="*/ 1376261 w 3968738"/>
                <a:gd name="connsiteY0" fmla="*/ 2892742 h 3371940"/>
                <a:gd name="connsiteX1" fmla="*/ 1376261 w 3968738"/>
                <a:gd name="connsiteY1" fmla="*/ 3030855 h 3371940"/>
                <a:gd name="connsiteX2" fmla="*/ 3209824 w 3968738"/>
                <a:gd name="connsiteY2" fmla="*/ 3235642 h 3371940"/>
                <a:gd name="connsiteX3" fmla="*/ 3209824 w 3968738"/>
                <a:gd name="connsiteY3" fmla="*/ 3078480 h 3371940"/>
                <a:gd name="connsiteX4" fmla="*/ 1376261 w 3968738"/>
                <a:gd name="connsiteY4" fmla="*/ 2892742 h 3371940"/>
                <a:gd name="connsiteX5" fmla="*/ 1376261 w 3968738"/>
                <a:gd name="connsiteY5" fmla="*/ 2592463 h 3371940"/>
                <a:gd name="connsiteX6" fmla="*/ 1376261 w 3968738"/>
                <a:gd name="connsiteY6" fmla="*/ 2730576 h 3371940"/>
                <a:gd name="connsiteX7" fmla="*/ 3209824 w 3968738"/>
                <a:gd name="connsiteY7" fmla="*/ 2935363 h 3371940"/>
                <a:gd name="connsiteX8" fmla="*/ 3209824 w 3968738"/>
                <a:gd name="connsiteY8" fmla="*/ 2778201 h 3371940"/>
                <a:gd name="connsiteX9" fmla="*/ 1376261 w 3968738"/>
                <a:gd name="connsiteY9" fmla="*/ 2592463 h 3371940"/>
                <a:gd name="connsiteX10" fmla="*/ 1376261 w 3968738"/>
                <a:gd name="connsiteY10" fmla="*/ 2292183 h 3371940"/>
                <a:gd name="connsiteX11" fmla="*/ 1376261 w 3968738"/>
                <a:gd name="connsiteY11" fmla="*/ 2430296 h 3371940"/>
                <a:gd name="connsiteX12" fmla="*/ 3209824 w 3968738"/>
                <a:gd name="connsiteY12" fmla="*/ 2635083 h 3371940"/>
                <a:gd name="connsiteX13" fmla="*/ 3209824 w 3968738"/>
                <a:gd name="connsiteY13" fmla="*/ 2477921 h 3371940"/>
                <a:gd name="connsiteX14" fmla="*/ 1376261 w 3968738"/>
                <a:gd name="connsiteY14" fmla="*/ 2292183 h 3371940"/>
                <a:gd name="connsiteX15" fmla="*/ 1376261 w 3968738"/>
                <a:gd name="connsiteY15" fmla="*/ 1991903 h 3371940"/>
                <a:gd name="connsiteX16" fmla="*/ 1376261 w 3968738"/>
                <a:gd name="connsiteY16" fmla="*/ 2130016 h 3371940"/>
                <a:gd name="connsiteX17" fmla="*/ 3209824 w 3968738"/>
                <a:gd name="connsiteY17" fmla="*/ 2334803 h 3371940"/>
                <a:gd name="connsiteX18" fmla="*/ 3209824 w 3968738"/>
                <a:gd name="connsiteY18" fmla="*/ 2177641 h 3371940"/>
                <a:gd name="connsiteX19" fmla="*/ 1376261 w 3968738"/>
                <a:gd name="connsiteY19" fmla="*/ 1991903 h 3371940"/>
                <a:gd name="connsiteX20" fmla="*/ 1376261 w 3968738"/>
                <a:gd name="connsiteY20" fmla="*/ 1691623 h 3371940"/>
                <a:gd name="connsiteX21" fmla="*/ 1376261 w 3968738"/>
                <a:gd name="connsiteY21" fmla="*/ 1829736 h 3371940"/>
                <a:gd name="connsiteX22" fmla="*/ 3209824 w 3968738"/>
                <a:gd name="connsiteY22" fmla="*/ 2034523 h 3371940"/>
                <a:gd name="connsiteX23" fmla="*/ 3209824 w 3968738"/>
                <a:gd name="connsiteY23" fmla="*/ 1877361 h 3371940"/>
                <a:gd name="connsiteX24" fmla="*/ 1376261 w 3968738"/>
                <a:gd name="connsiteY24" fmla="*/ 1691623 h 3371940"/>
                <a:gd name="connsiteX25" fmla="*/ 1376261 w 3968738"/>
                <a:gd name="connsiteY25" fmla="*/ 1391343 h 3371940"/>
                <a:gd name="connsiteX26" fmla="*/ 1376261 w 3968738"/>
                <a:gd name="connsiteY26" fmla="*/ 1529456 h 3371940"/>
                <a:gd name="connsiteX27" fmla="*/ 3209824 w 3968738"/>
                <a:gd name="connsiteY27" fmla="*/ 1734243 h 3371940"/>
                <a:gd name="connsiteX28" fmla="*/ 3209824 w 3968738"/>
                <a:gd name="connsiteY28" fmla="*/ 1577081 h 3371940"/>
                <a:gd name="connsiteX29" fmla="*/ 1376261 w 3968738"/>
                <a:gd name="connsiteY29" fmla="*/ 1391343 h 3371940"/>
                <a:gd name="connsiteX30" fmla="*/ 1366736 w 3968738"/>
                <a:gd name="connsiteY30" fmla="*/ 1095826 h 3371940"/>
                <a:gd name="connsiteX31" fmla="*/ 1366736 w 3968738"/>
                <a:gd name="connsiteY31" fmla="*/ 1248226 h 3371940"/>
                <a:gd name="connsiteX32" fmla="*/ 3200299 w 3968738"/>
                <a:gd name="connsiteY32" fmla="*/ 1433963 h 3371940"/>
                <a:gd name="connsiteX33" fmla="*/ 3200299 w 3968738"/>
                <a:gd name="connsiteY33" fmla="*/ 1281563 h 3371940"/>
                <a:gd name="connsiteX34" fmla="*/ 1366736 w 3968738"/>
                <a:gd name="connsiteY34" fmla="*/ 1095826 h 3371940"/>
                <a:gd name="connsiteX35" fmla="*/ 1376261 w 3968738"/>
                <a:gd name="connsiteY35" fmla="*/ 781258 h 3371940"/>
                <a:gd name="connsiteX36" fmla="*/ 1376261 w 3968738"/>
                <a:gd name="connsiteY36" fmla="*/ 947946 h 3371940"/>
                <a:gd name="connsiteX37" fmla="*/ 3200299 w 3968738"/>
                <a:gd name="connsiteY37" fmla="*/ 1138446 h 3371940"/>
                <a:gd name="connsiteX38" fmla="*/ 3200299 w 3968738"/>
                <a:gd name="connsiteY38" fmla="*/ 981283 h 3371940"/>
                <a:gd name="connsiteX39" fmla="*/ 1376261 w 3968738"/>
                <a:gd name="connsiteY39" fmla="*/ 781258 h 3371940"/>
                <a:gd name="connsiteX40" fmla="*/ 0 w 3968738"/>
                <a:gd name="connsiteY40" fmla="*/ 0 h 3371940"/>
                <a:gd name="connsiteX41" fmla="*/ 1405793 w 3968738"/>
                <a:gd name="connsiteY41" fmla="*/ 481708 h 3371940"/>
                <a:gd name="connsiteX42" fmla="*/ 3244138 w 3968738"/>
                <a:gd name="connsiteY42" fmla="*/ 678322 h 3371940"/>
                <a:gd name="connsiteX43" fmla="*/ 3961779 w 3968738"/>
                <a:gd name="connsiteY43" fmla="*/ 285094 h 3371940"/>
                <a:gd name="connsiteX44" fmla="*/ 3968738 w 3968738"/>
                <a:gd name="connsiteY44" fmla="*/ 2924852 h 3371940"/>
                <a:gd name="connsiteX45" fmla="*/ 3234304 w 3968738"/>
                <a:gd name="connsiteY45" fmla="*/ 3371940 h 3371940"/>
                <a:gd name="connsiteX46" fmla="*/ 1327148 w 3968738"/>
                <a:gd name="connsiteY46" fmla="*/ 3175326 h 3371940"/>
                <a:gd name="connsiteX47" fmla="*/ 0 w 3968738"/>
                <a:gd name="connsiteY47" fmla="*/ 2614972 h 3371940"/>
                <a:gd name="connsiteX48" fmla="*/ 0 w 3968738"/>
                <a:gd name="connsiteY48" fmla="*/ 0 h 337194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40654 w 3968738"/>
                <a:gd name="connsiteY45" fmla="*/ 3441790 h 3441790"/>
                <a:gd name="connsiteX46" fmla="*/ 1327148 w 3968738"/>
                <a:gd name="connsiteY46" fmla="*/ 3175326 h 3441790"/>
                <a:gd name="connsiteX47" fmla="*/ 0 w 3968738"/>
                <a:gd name="connsiteY47" fmla="*/ 2614972 h 3441790"/>
                <a:gd name="connsiteX48" fmla="*/ 0 w 3968738"/>
                <a:gd name="connsiteY48" fmla="*/ 0 h 344179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66054 w 3968738"/>
                <a:gd name="connsiteY45" fmla="*/ 3441790 h 3441790"/>
                <a:gd name="connsiteX46" fmla="*/ 1327148 w 3968738"/>
                <a:gd name="connsiteY46" fmla="*/ 3175326 h 3441790"/>
                <a:gd name="connsiteX47" fmla="*/ 0 w 3968738"/>
                <a:gd name="connsiteY47" fmla="*/ 2614972 h 3441790"/>
                <a:gd name="connsiteX48" fmla="*/ 0 w 3968738"/>
                <a:gd name="connsiteY48" fmla="*/ 0 h 344179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66054 w 3968738"/>
                <a:gd name="connsiteY45" fmla="*/ 3441790 h 3441790"/>
                <a:gd name="connsiteX46" fmla="*/ 1320798 w 3968738"/>
                <a:gd name="connsiteY46" fmla="*/ 3257876 h 3441790"/>
                <a:gd name="connsiteX47" fmla="*/ 0 w 3968738"/>
                <a:gd name="connsiteY47" fmla="*/ 2614972 h 3441790"/>
                <a:gd name="connsiteX48" fmla="*/ 0 w 3968738"/>
                <a:gd name="connsiteY48" fmla="*/ 0 h 3441790"/>
                <a:gd name="connsiteX0" fmla="*/ 1376261 w 3968738"/>
                <a:gd name="connsiteY0" fmla="*/ 2892742 h 3441790"/>
                <a:gd name="connsiteX1" fmla="*/ 1376261 w 3968738"/>
                <a:gd name="connsiteY1" fmla="*/ 3030855 h 3441790"/>
                <a:gd name="connsiteX2" fmla="*/ 3209824 w 3968738"/>
                <a:gd name="connsiteY2" fmla="*/ 3235642 h 3441790"/>
                <a:gd name="connsiteX3" fmla="*/ 3209824 w 3968738"/>
                <a:gd name="connsiteY3" fmla="*/ 3078480 h 3441790"/>
                <a:gd name="connsiteX4" fmla="*/ 1376261 w 3968738"/>
                <a:gd name="connsiteY4" fmla="*/ 2892742 h 3441790"/>
                <a:gd name="connsiteX5" fmla="*/ 1376261 w 3968738"/>
                <a:gd name="connsiteY5" fmla="*/ 2592463 h 3441790"/>
                <a:gd name="connsiteX6" fmla="*/ 1376261 w 3968738"/>
                <a:gd name="connsiteY6" fmla="*/ 2730576 h 3441790"/>
                <a:gd name="connsiteX7" fmla="*/ 3209824 w 3968738"/>
                <a:gd name="connsiteY7" fmla="*/ 2935363 h 3441790"/>
                <a:gd name="connsiteX8" fmla="*/ 3209824 w 3968738"/>
                <a:gd name="connsiteY8" fmla="*/ 2778201 h 3441790"/>
                <a:gd name="connsiteX9" fmla="*/ 1376261 w 3968738"/>
                <a:gd name="connsiteY9" fmla="*/ 2592463 h 3441790"/>
                <a:gd name="connsiteX10" fmla="*/ 1376261 w 3968738"/>
                <a:gd name="connsiteY10" fmla="*/ 2292183 h 3441790"/>
                <a:gd name="connsiteX11" fmla="*/ 1376261 w 3968738"/>
                <a:gd name="connsiteY11" fmla="*/ 2430296 h 3441790"/>
                <a:gd name="connsiteX12" fmla="*/ 3209824 w 3968738"/>
                <a:gd name="connsiteY12" fmla="*/ 2635083 h 3441790"/>
                <a:gd name="connsiteX13" fmla="*/ 3209824 w 3968738"/>
                <a:gd name="connsiteY13" fmla="*/ 2477921 h 3441790"/>
                <a:gd name="connsiteX14" fmla="*/ 1376261 w 3968738"/>
                <a:gd name="connsiteY14" fmla="*/ 2292183 h 3441790"/>
                <a:gd name="connsiteX15" fmla="*/ 1376261 w 3968738"/>
                <a:gd name="connsiteY15" fmla="*/ 1991903 h 3441790"/>
                <a:gd name="connsiteX16" fmla="*/ 1376261 w 3968738"/>
                <a:gd name="connsiteY16" fmla="*/ 2130016 h 3441790"/>
                <a:gd name="connsiteX17" fmla="*/ 3209824 w 3968738"/>
                <a:gd name="connsiteY17" fmla="*/ 2334803 h 3441790"/>
                <a:gd name="connsiteX18" fmla="*/ 3209824 w 3968738"/>
                <a:gd name="connsiteY18" fmla="*/ 2177641 h 3441790"/>
                <a:gd name="connsiteX19" fmla="*/ 1376261 w 3968738"/>
                <a:gd name="connsiteY19" fmla="*/ 1991903 h 3441790"/>
                <a:gd name="connsiteX20" fmla="*/ 1376261 w 3968738"/>
                <a:gd name="connsiteY20" fmla="*/ 1691623 h 3441790"/>
                <a:gd name="connsiteX21" fmla="*/ 1376261 w 3968738"/>
                <a:gd name="connsiteY21" fmla="*/ 1829736 h 3441790"/>
                <a:gd name="connsiteX22" fmla="*/ 3209824 w 3968738"/>
                <a:gd name="connsiteY22" fmla="*/ 2034523 h 3441790"/>
                <a:gd name="connsiteX23" fmla="*/ 3209824 w 3968738"/>
                <a:gd name="connsiteY23" fmla="*/ 1877361 h 3441790"/>
                <a:gd name="connsiteX24" fmla="*/ 1376261 w 3968738"/>
                <a:gd name="connsiteY24" fmla="*/ 1691623 h 3441790"/>
                <a:gd name="connsiteX25" fmla="*/ 1376261 w 3968738"/>
                <a:gd name="connsiteY25" fmla="*/ 1391343 h 3441790"/>
                <a:gd name="connsiteX26" fmla="*/ 1376261 w 3968738"/>
                <a:gd name="connsiteY26" fmla="*/ 1529456 h 3441790"/>
                <a:gd name="connsiteX27" fmla="*/ 3209824 w 3968738"/>
                <a:gd name="connsiteY27" fmla="*/ 1734243 h 3441790"/>
                <a:gd name="connsiteX28" fmla="*/ 3209824 w 3968738"/>
                <a:gd name="connsiteY28" fmla="*/ 1577081 h 3441790"/>
                <a:gd name="connsiteX29" fmla="*/ 1376261 w 3968738"/>
                <a:gd name="connsiteY29" fmla="*/ 1391343 h 3441790"/>
                <a:gd name="connsiteX30" fmla="*/ 1366736 w 3968738"/>
                <a:gd name="connsiteY30" fmla="*/ 1095826 h 3441790"/>
                <a:gd name="connsiteX31" fmla="*/ 1366736 w 3968738"/>
                <a:gd name="connsiteY31" fmla="*/ 1248226 h 3441790"/>
                <a:gd name="connsiteX32" fmla="*/ 3200299 w 3968738"/>
                <a:gd name="connsiteY32" fmla="*/ 1433963 h 3441790"/>
                <a:gd name="connsiteX33" fmla="*/ 3200299 w 3968738"/>
                <a:gd name="connsiteY33" fmla="*/ 1281563 h 3441790"/>
                <a:gd name="connsiteX34" fmla="*/ 1366736 w 3968738"/>
                <a:gd name="connsiteY34" fmla="*/ 1095826 h 3441790"/>
                <a:gd name="connsiteX35" fmla="*/ 1376261 w 3968738"/>
                <a:gd name="connsiteY35" fmla="*/ 781258 h 3441790"/>
                <a:gd name="connsiteX36" fmla="*/ 1376261 w 3968738"/>
                <a:gd name="connsiteY36" fmla="*/ 947946 h 3441790"/>
                <a:gd name="connsiteX37" fmla="*/ 3200299 w 3968738"/>
                <a:gd name="connsiteY37" fmla="*/ 1138446 h 3441790"/>
                <a:gd name="connsiteX38" fmla="*/ 3200299 w 3968738"/>
                <a:gd name="connsiteY38" fmla="*/ 981283 h 3441790"/>
                <a:gd name="connsiteX39" fmla="*/ 1376261 w 3968738"/>
                <a:gd name="connsiteY39" fmla="*/ 781258 h 3441790"/>
                <a:gd name="connsiteX40" fmla="*/ 0 w 3968738"/>
                <a:gd name="connsiteY40" fmla="*/ 0 h 3441790"/>
                <a:gd name="connsiteX41" fmla="*/ 1405793 w 3968738"/>
                <a:gd name="connsiteY41" fmla="*/ 481708 h 3441790"/>
                <a:gd name="connsiteX42" fmla="*/ 3244138 w 3968738"/>
                <a:gd name="connsiteY42" fmla="*/ 678322 h 3441790"/>
                <a:gd name="connsiteX43" fmla="*/ 3961779 w 3968738"/>
                <a:gd name="connsiteY43" fmla="*/ 285094 h 3441790"/>
                <a:gd name="connsiteX44" fmla="*/ 3968738 w 3968738"/>
                <a:gd name="connsiteY44" fmla="*/ 2924852 h 3441790"/>
                <a:gd name="connsiteX45" fmla="*/ 3266054 w 3968738"/>
                <a:gd name="connsiteY45" fmla="*/ 3441790 h 3441790"/>
                <a:gd name="connsiteX46" fmla="*/ 1314448 w 3968738"/>
                <a:gd name="connsiteY46" fmla="*/ 3232476 h 3441790"/>
                <a:gd name="connsiteX47" fmla="*/ 0 w 3968738"/>
                <a:gd name="connsiteY47" fmla="*/ 2614972 h 3441790"/>
                <a:gd name="connsiteX48" fmla="*/ 0 w 3968738"/>
                <a:gd name="connsiteY48" fmla="*/ 0 h 3441790"/>
                <a:gd name="connsiteX0" fmla="*/ 1382611 w 3975088"/>
                <a:gd name="connsiteY0" fmla="*/ 2892742 h 3441790"/>
                <a:gd name="connsiteX1" fmla="*/ 1382611 w 3975088"/>
                <a:gd name="connsiteY1" fmla="*/ 3030855 h 3441790"/>
                <a:gd name="connsiteX2" fmla="*/ 3216174 w 3975088"/>
                <a:gd name="connsiteY2" fmla="*/ 3235642 h 3441790"/>
                <a:gd name="connsiteX3" fmla="*/ 3216174 w 3975088"/>
                <a:gd name="connsiteY3" fmla="*/ 3078480 h 3441790"/>
                <a:gd name="connsiteX4" fmla="*/ 1382611 w 3975088"/>
                <a:gd name="connsiteY4" fmla="*/ 2892742 h 3441790"/>
                <a:gd name="connsiteX5" fmla="*/ 1382611 w 3975088"/>
                <a:gd name="connsiteY5" fmla="*/ 2592463 h 3441790"/>
                <a:gd name="connsiteX6" fmla="*/ 1382611 w 3975088"/>
                <a:gd name="connsiteY6" fmla="*/ 2730576 h 3441790"/>
                <a:gd name="connsiteX7" fmla="*/ 3216174 w 3975088"/>
                <a:gd name="connsiteY7" fmla="*/ 2935363 h 3441790"/>
                <a:gd name="connsiteX8" fmla="*/ 3216174 w 3975088"/>
                <a:gd name="connsiteY8" fmla="*/ 2778201 h 3441790"/>
                <a:gd name="connsiteX9" fmla="*/ 1382611 w 3975088"/>
                <a:gd name="connsiteY9" fmla="*/ 2592463 h 3441790"/>
                <a:gd name="connsiteX10" fmla="*/ 1382611 w 3975088"/>
                <a:gd name="connsiteY10" fmla="*/ 2292183 h 3441790"/>
                <a:gd name="connsiteX11" fmla="*/ 1382611 w 3975088"/>
                <a:gd name="connsiteY11" fmla="*/ 2430296 h 3441790"/>
                <a:gd name="connsiteX12" fmla="*/ 3216174 w 3975088"/>
                <a:gd name="connsiteY12" fmla="*/ 2635083 h 3441790"/>
                <a:gd name="connsiteX13" fmla="*/ 3216174 w 3975088"/>
                <a:gd name="connsiteY13" fmla="*/ 2477921 h 3441790"/>
                <a:gd name="connsiteX14" fmla="*/ 1382611 w 3975088"/>
                <a:gd name="connsiteY14" fmla="*/ 2292183 h 3441790"/>
                <a:gd name="connsiteX15" fmla="*/ 1382611 w 3975088"/>
                <a:gd name="connsiteY15" fmla="*/ 1991903 h 3441790"/>
                <a:gd name="connsiteX16" fmla="*/ 1382611 w 3975088"/>
                <a:gd name="connsiteY16" fmla="*/ 2130016 h 3441790"/>
                <a:gd name="connsiteX17" fmla="*/ 3216174 w 3975088"/>
                <a:gd name="connsiteY17" fmla="*/ 2334803 h 3441790"/>
                <a:gd name="connsiteX18" fmla="*/ 3216174 w 3975088"/>
                <a:gd name="connsiteY18" fmla="*/ 2177641 h 3441790"/>
                <a:gd name="connsiteX19" fmla="*/ 1382611 w 3975088"/>
                <a:gd name="connsiteY19" fmla="*/ 1991903 h 3441790"/>
                <a:gd name="connsiteX20" fmla="*/ 1382611 w 3975088"/>
                <a:gd name="connsiteY20" fmla="*/ 1691623 h 3441790"/>
                <a:gd name="connsiteX21" fmla="*/ 1382611 w 3975088"/>
                <a:gd name="connsiteY21" fmla="*/ 1829736 h 3441790"/>
                <a:gd name="connsiteX22" fmla="*/ 3216174 w 3975088"/>
                <a:gd name="connsiteY22" fmla="*/ 2034523 h 3441790"/>
                <a:gd name="connsiteX23" fmla="*/ 3216174 w 3975088"/>
                <a:gd name="connsiteY23" fmla="*/ 1877361 h 3441790"/>
                <a:gd name="connsiteX24" fmla="*/ 1382611 w 3975088"/>
                <a:gd name="connsiteY24" fmla="*/ 1691623 h 3441790"/>
                <a:gd name="connsiteX25" fmla="*/ 1382611 w 3975088"/>
                <a:gd name="connsiteY25" fmla="*/ 1391343 h 3441790"/>
                <a:gd name="connsiteX26" fmla="*/ 1382611 w 3975088"/>
                <a:gd name="connsiteY26" fmla="*/ 1529456 h 3441790"/>
                <a:gd name="connsiteX27" fmla="*/ 3216174 w 3975088"/>
                <a:gd name="connsiteY27" fmla="*/ 1734243 h 3441790"/>
                <a:gd name="connsiteX28" fmla="*/ 3216174 w 3975088"/>
                <a:gd name="connsiteY28" fmla="*/ 1577081 h 3441790"/>
                <a:gd name="connsiteX29" fmla="*/ 1382611 w 3975088"/>
                <a:gd name="connsiteY29" fmla="*/ 1391343 h 3441790"/>
                <a:gd name="connsiteX30" fmla="*/ 1373086 w 3975088"/>
                <a:gd name="connsiteY30" fmla="*/ 1095826 h 3441790"/>
                <a:gd name="connsiteX31" fmla="*/ 1373086 w 3975088"/>
                <a:gd name="connsiteY31" fmla="*/ 1248226 h 3441790"/>
                <a:gd name="connsiteX32" fmla="*/ 3206649 w 3975088"/>
                <a:gd name="connsiteY32" fmla="*/ 1433963 h 3441790"/>
                <a:gd name="connsiteX33" fmla="*/ 3206649 w 3975088"/>
                <a:gd name="connsiteY33" fmla="*/ 1281563 h 3441790"/>
                <a:gd name="connsiteX34" fmla="*/ 1373086 w 3975088"/>
                <a:gd name="connsiteY34" fmla="*/ 1095826 h 3441790"/>
                <a:gd name="connsiteX35" fmla="*/ 1382611 w 3975088"/>
                <a:gd name="connsiteY35" fmla="*/ 781258 h 3441790"/>
                <a:gd name="connsiteX36" fmla="*/ 1382611 w 3975088"/>
                <a:gd name="connsiteY36" fmla="*/ 947946 h 3441790"/>
                <a:gd name="connsiteX37" fmla="*/ 3206649 w 3975088"/>
                <a:gd name="connsiteY37" fmla="*/ 1138446 h 3441790"/>
                <a:gd name="connsiteX38" fmla="*/ 3206649 w 3975088"/>
                <a:gd name="connsiteY38" fmla="*/ 981283 h 3441790"/>
                <a:gd name="connsiteX39" fmla="*/ 1382611 w 3975088"/>
                <a:gd name="connsiteY39" fmla="*/ 781258 h 3441790"/>
                <a:gd name="connsiteX40" fmla="*/ 6350 w 3975088"/>
                <a:gd name="connsiteY40" fmla="*/ 0 h 3441790"/>
                <a:gd name="connsiteX41" fmla="*/ 1412143 w 3975088"/>
                <a:gd name="connsiteY41" fmla="*/ 481708 h 3441790"/>
                <a:gd name="connsiteX42" fmla="*/ 3250488 w 3975088"/>
                <a:gd name="connsiteY42" fmla="*/ 678322 h 3441790"/>
                <a:gd name="connsiteX43" fmla="*/ 3968129 w 3975088"/>
                <a:gd name="connsiteY43" fmla="*/ 285094 h 3441790"/>
                <a:gd name="connsiteX44" fmla="*/ 3975088 w 3975088"/>
                <a:gd name="connsiteY44" fmla="*/ 2924852 h 3441790"/>
                <a:gd name="connsiteX45" fmla="*/ 3272404 w 3975088"/>
                <a:gd name="connsiteY45" fmla="*/ 3441790 h 3441790"/>
                <a:gd name="connsiteX46" fmla="*/ 1320798 w 3975088"/>
                <a:gd name="connsiteY46" fmla="*/ 3232476 h 3441790"/>
                <a:gd name="connsiteX47" fmla="*/ 0 w 3975088"/>
                <a:gd name="connsiteY47" fmla="*/ 2672122 h 3441790"/>
                <a:gd name="connsiteX48" fmla="*/ 6350 w 3975088"/>
                <a:gd name="connsiteY48" fmla="*/ 0 h 3441790"/>
                <a:gd name="connsiteX0" fmla="*/ 1376398 w 3968875"/>
                <a:gd name="connsiteY0" fmla="*/ 2892742 h 3441790"/>
                <a:gd name="connsiteX1" fmla="*/ 1376398 w 3968875"/>
                <a:gd name="connsiteY1" fmla="*/ 3030855 h 3441790"/>
                <a:gd name="connsiteX2" fmla="*/ 3209961 w 3968875"/>
                <a:gd name="connsiteY2" fmla="*/ 3235642 h 3441790"/>
                <a:gd name="connsiteX3" fmla="*/ 3209961 w 3968875"/>
                <a:gd name="connsiteY3" fmla="*/ 3078480 h 3441790"/>
                <a:gd name="connsiteX4" fmla="*/ 1376398 w 3968875"/>
                <a:gd name="connsiteY4" fmla="*/ 2892742 h 3441790"/>
                <a:gd name="connsiteX5" fmla="*/ 1376398 w 3968875"/>
                <a:gd name="connsiteY5" fmla="*/ 2592463 h 3441790"/>
                <a:gd name="connsiteX6" fmla="*/ 1376398 w 3968875"/>
                <a:gd name="connsiteY6" fmla="*/ 2730576 h 3441790"/>
                <a:gd name="connsiteX7" fmla="*/ 3209961 w 3968875"/>
                <a:gd name="connsiteY7" fmla="*/ 2935363 h 3441790"/>
                <a:gd name="connsiteX8" fmla="*/ 3209961 w 3968875"/>
                <a:gd name="connsiteY8" fmla="*/ 2778201 h 3441790"/>
                <a:gd name="connsiteX9" fmla="*/ 1376398 w 3968875"/>
                <a:gd name="connsiteY9" fmla="*/ 2592463 h 3441790"/>
                <a:gd name="connsiteX10" fmla="*/ 1376398 w 3968875"/>
                <a:gd name="connsiteY10" fmla="*/ 2292183 h 3441790"/>
                <a:gd name="connsiteX11" fmla="*/ 1376398 w 3968875"/>
                <a:gd name="connsiteY11" fmla="*/ 2430296 h 3441790"/>
                <a:gd name="connsiteX12" fmla="*/ 3209961 w 3968875"/>
                <a:gd name="connsiteY12" fmla="*/ 2635083 h 3441790"/>
                <a:gd name="connsiteX13" fmla="*/ 3209961 w 3968875"/>
                <a:gd name="connsiteY13" fmla="*/ 2477921 h 3441790"/>
                <a:gd name="connsiteX14" fmla="*/ 1376398 w 3968875"/>
                <a:gd name="connsiteY14" fmla="*/ 2292183 h 3441790"/>
                <a:gd name="connsiteX15" fmla="*/ 1376398 w 3968875"/>
                <a:gd name="connsiteY15" fmla="*/ 1991903 h 3441790"/>
                <a:gd name="connsiteX16" fmla="*/ 1376398 w 3968875"/>
                <a:gd name="connsiteY16" fmla="*/ 2130016 h 3441790"/>
                <a:gd name="connsiteX17" fmla="*/ 3209961 w 3968875"/>
                <a:gd name="connsiteY17" fmla="*/ 2334803 h 3441790"/>
                <a:gd name="connsiteX18" fmla="*/ 3209961 w 3968875"/>
                <a:gd name="connsiteY18" fmla="*/ 2177641 h 3441790"/>
                <a:gd name="connsiteX19" fmla="*/ 1376398 w 3968875"/>
                <a:gd name="connsiteY19" fmla="*/ 1991903 h 3441790"/>
                <a:gd name="connsiteX20" fmla="*/ 1376398 w 3968875"/>
                <a:gd name="connsiteY20" fmla="*/ 1691623 h 3441790"/>
                <a:gd name="connsiteX21" fmla="*/ 1376398 w 3968875"/>
                <a:gd name="connsiteY21" fmla="*/ 1829736 h 3441790"/>
                <a:gd name="connsiteX22" fmla="*/ 3209961 w 3968875"/>
                <a:gd name="connsiteY22" fmla="*/ 2034523 h 3441790"/>
                <a:gd name="connsiteX23" fmla="*/ 3209961 w 3968875"/>
                <a:gd name="connsiteY23" fmla="*/ 1877361 h 3441790"/>
                <a:gd name="connsiteX24" fmla="*/ 1376398 w 3968875"/>
                <a:gd name="connsiteY24" fmla="*/ 1691623 h 3441790"/>
                <a:gd name="connsiteX25" fmla="*/ 1376398 w 3968875"/>
                <a:gd name="connsiteY25" fmla="*/ 1391343 h 3441790"/>
                <a:gd name="connsiteX26" fmla="*/ 1376398 w 3968875"/>
                <a:gd name="connsiteY26" fmla="*/ 1529456 h 3441790"/>
                <a:gd name="connsiteX27" fmla="*/ 3209961 w 3968875"/>
                <a:gd name="connsiteY27" fmla="*/ 1734243 h 3441790"/>
                <a:gd name="connsiteX28" fmla="*/ 3209961 w 3968875"/>
                <a:gd name="connsiteY28" fmla="*/ 1577081 h 3441790"/>
                <a:gd name="connsiteX29" fmla="*/ 1376398 w 3968875"/>
                <a:gd name="connsiteY29" fmla="*/ 1391343 h 3441790"/>
                <a:gd name="connsiteX30" fmla="*/ 1366873 w 3968875"/>
                <a:gd name="connsiteY30" fmla="*/ 1095826 h 3441790"/>
                <a:gd name="connsiteX31" fmla="*/ 1366873 w 3968875"/>
                <a:gd name="connsiteY31" fmla="*/ 1248226 h 3441790"/>
                <a:gd name="connsiteX32" fmla="*/ 3200436 w 3968875"/>
                <a:gd name="connsiteY32" fmla="*/ 1433963 h 3441790"/>
                <a:gd name="connsiteX33" fmla="*/ 3200436 w 3968875"/>
                <a:gd name="connsiteY33" fmla="*/ 1281563 h 3441790"/>
                <a:gd name="connsiteX34" fmla="*/ 1366873 w 3968875"/>
                <a:gd name="connsiteY34" fmla="*/ 1095826 h 3441790"/>
                <a:gd name="connsiteX35" fmla="*/ 1376398 w 3968875"/>
                <a:gd name="connsiteY35" fmla="*/ 781258 h 3441790"/>
                <a:gd name="connsiteX36" fmla="*/ 1376398 w 3968875"/>
                <a:gd name="connsiteY36" fmla="*/ 947946 h 3441790"/>
                <a:gd name="connsiteX37" fmla="*/ 3200436 w 3968875"/>
                <a:gd name="connsiteY37" fmla="*/ 1138446 h 3441790"/>
                <a:gd name="connsiteX38" fmla="*/ 3200436 w 3968875"/>
                <a:gd name="connsiteY38" fmla="*/ 981283 h 3441790"/>
                <a:gd name="connsiteX39" fmla="*/ 1376398 w 3968875"/>
                <a:gd name="connsiteY39" fmla="*/ 781258 h 3441790"/>
                <a:gd name="connsiteX40" fmla="*/ 137 w 3968875"/>
                <a:gd name="connsiteY40" fmla="*/ 0 h 3441790"/>
                <a:gd name="connsiteX41" fmla="*/ 1405930 w 3968875"/>
                <a:gd name="connsiteY41" fmla="*/ 481708 h 3441790"/>
                <a:gd name="connsiteX42" fmla="*/ 3244275 w 3968875"/>
                <a:gd name="connsiteY42" fmla="*/ 678322 h 3441790"/>
                <a:gd name="connsiteX43" fmla="*/ 3961916 w 3968875"/>
                <a:gd name="connsiteY43" fmla="*/ 285094 h 3441790"/>
                <a:gd name="connsiteX44" fmla="*/ 3968875 w 3968875"/>
                <a:gd name="connsiteY44" fmla="*/ 2924852 h 3441790"/>
                <a:gd name="connsiteX45" fmla="*/ 3266191 w 3968875"/>
                <a:gd name="connsiteY45" fmla="*/ 3441790 h 3441790"/>
                <a:gd name="connsiteX46" fmla="*/ 1314585 w 3968875"/>
                <a:gd name="connsiteY46" fmla="*/ 3232476 h 3441790"/>
                <a:gd name="connsiteX47" fmla="*/ 19187 w 3968875"/>
                <a:gd name="connsiteY47" fmla="*/ 2678472 h 3441790"/>
                <a:gd name="connsiteX48" fmla="*/ 137 w 3968875"/>
                <a:gd name="connsiteY48" fmla="*/ 0 h 3441790"/>
                <a:gd name="connsiteX0" fmla="*/ 1376542 w 3969019"/>
                <a:gd name="connsiteY0" fmla="*/ 2892742 h 3441790"/>
                <a:gd name="connsiteX1" fmla="*/ 1376542 w 3969019"/>
                <a:gd name="connsiteY1" fmla="*/ 3030855 h 3441790"/>
                <a:gd name="connsiteX2" fmla="*/ 3210105 w 3969019"/>
                <a:gd name="connsiteY2" fmla="*/ 3235642 h 3441790"/>
                <a:gd name="connsiteX3" fmla="*/ 3210105 w 3969019"/>
                <a:gd name="connsiteY3" fmla="*/ 3078480 h 3441790"/>
                <a:gd name="connsiteX4" fmla="*/ 1376542 w 3969019"/>
                <a:gd name="connsiteY4" fmla="*/ 2892742 h 3441790"/>
                <a:gd name="connsiteX5" fmla="*/ 1376542 w 3969019"/>
                <a:gd name="connsiteY5" fmla="*/ 2592463 h 3441790"/>
                <a:gd name="connsiteX6" fmla="*/ 1376542 w 3969019"/>
                <a:gd name="connsiteY6" fmla="*/ 2730576 h 3441790"/>
                <a:gd name="connsiteX7" fmla="*/ 3210105 w 3969019"/>
                <a:gd name="connsiteY7" fmla="*/ 2935363 h 3441790"/>
                <a:gd name="connsiteX8" fmla="*/ 3210105 w 3969019"/>
                <a:gd name="connsiteY8" fmla="*/ 2778201 h 3441790"/>
                <a:gd name="connsiteX9" fmla="*/ 1376542 w 3969019"/>
                <a:gd name="connsiteY9" fmla="*/ 2592463 h 3441790"/>
                <a:gd name="connsiteX10" fmla="*/ 1376542 w 3969019"/>
                <a:gd name="connsiteY10" fmla="*/ 2292183 h 3441790"/>
                <a:gd name="connsiteX11" fmla="*/ 1376542 w 3969019"/>
                <a:gd name="connsiteY11" fmla="*/ 2430296 h 3441790"/>
                <a:gd name="connsiteX12" fmla="*/ 3210105 w 3969019"/>
                <a:gd name="connsiteY12" fmla="*/ 2635083 h 3441790"/>
                <a:gd name="connsiteX13" fmla="*/ 3210105 w 3969019"/>
                <a:gd name="connsiteY13" fmla="*/ 2477921 h 3441790"/>
                <a:gd name="connsiteX14" fmla="*/ 1376542 w 3969019"/>
                <a:gd name="connsiteY14" fmla="*/ 2292183 h 3441790"/>
                <a:gd name="connsiteX15" fmla="*/ 1376542 w 3969019"/>
                <a:gd name="connsiteY15" fmla="*/ 1991903 h 3441790"/>
                <a:gd name="connsiteX16" fmla="*/ 1376542 w 3969019"/>
                <a:gd name="connsiteY16" fmla="*/ 2130016 h 3441790"/>
                <a:gd name="connsiteX17" fmla="*/ 3210105 w 3969019"/>
                <a:gd name="connsiteY17" fmla="*/ 2334803 h 3441790"/>
                <a:gd name="connsiteX18" fmla="*/ 3210105 w 3969019"/>
                <a:gd name="connsiteY18" fmla="*/ 2177641 h 3441790"/>
                <a:gd name="connsiteX19" fmla="*/ 1376542 w 3969019"/>
                <a:gd name="connsiteY19" fmla="*/ 1991903 h 3441790"/>
                <a:gd name="connsiteX20" fmla="*/ 1376542 w 3969019"/>
                <a:gd name="connsiteY20" fmla="*/ 1691623 h 3441790"/>
                <a:gd name="connsiteX21" fmla="*/ 1376542 w 3969019"/>
                <a:gd name="connsiteY21" fmla="*/ 1829736 h 3441790"/>
                <a:gd name="connsiteX22" fmla="*/ 3210105 w 3969019"/>
                <a:gd name="connsiteY22" fmla="*/ 2034523 h 3441790"/>
                <a:gd name="connsiteX23" fmla="*/ 3210105 w 3969019"/>
                <a:gd name="connsiteY23" fmla="*/ 1877361 h 3441790"/>
                <a:gd name="connsiteX24" fmla="*/ 1376542 w 3969019"/>
                <a:gd name="connsiteY24" fmla="*/ 1691623 h 3441790"/>
                <a:gd name="connsiteX25" fmla="*/ 1376542 w 3969019"/>
                <a:gd name="connsiteY25" fmla="*/ 1391343 h 3441790"/>
                <a:gd name="connsiteX26" fmla="*/ 1376542 w 3969019"/>
                <a:gd name="connsiteY26" fmla="*/ 1529456 h 3441790"/>
                <a:gd name="connsiteX27" fmla="*/ 3210105 w 3969019"/>
                <a:gd name="connsiteY27" fmla="*/ 1734243 h 3441790"/>
                <a:gd name="connsiteX28" fmla="*/ 3210105 w 3969019"/>
                <a:gd name="connsiteY28" fmla="*/ 1577081 h 3441790"/>
                <a:gd name="connsiteX29" fmla="*/ 1376542 w 3969019"/>
                <a:gd name="connsiteY29" fmla="*/ 1391343 h 3441790"/>
                <a:gd name="connsiteX30" fmla="*/ 1367017 w 3969019"/>
                <a:gd name="connsiteY30" fmla="*/ 1095826 h 3441790"/>
                <a:gd name="connsiteX31" fmla="*/ 1367017 w 3969019"/>
                <a:gd name="connsiteY31" fmla="*/ 1248226 h 3441790"/>
                <a:gd name="connsiteX32" fmla="*/ 3200580 w 3969019"/>
                <a:gd name="connsiteY32" fmla="*/ 1433963 h 3441790"/>
                <a:gd name="connsiteX33" fmla="*/ 3200580 w 3969019"/>
                <a:gd name="connsiteY33" fmla="*/ 1281563 h 3441790"/>
                <a:gd name="connsiteX34" fmla="*/ 1367017 w 3969019"/>
                <a:gd name="connsiteY34" fmla="*/ 1095826 h 3441790"/>
                <a:gd name="connsiteX35" fmla="*/ 1376542 w 3969019"/>
                <a:gd name="connsiteY35" fmla="*/ 781258 h 3441790"/>
                <a:gd name="connsiteX36" fmla="*/ 1376542 w 3969019"/>
                <a:gd name="connsiteY36" fmla="*/ 947946 h 3441790"/>
                <a:gd name="connsiteX37" fmla="*/ 3200580 w 3969019"/>
                <a:gd name="connsiteY37" fmla="*/ 1138446 h 3441790"/>
                <a:gd name="connsiteX38" fmla="*/ 3200580 w 3969019"/>
                <a:gd name="connsiteY38" fmla="*/ 981283 h 3441790"/>
                <a:gd name="connsiteX39" fmla="*/ 1376542 w 3969019"/>
                <a:gd name="connsiteY39" fmla="*/ 781258 h 3441790"/>
                <a:gd name="connsiteX40" fmla="*/ 281 w 3969019"/>
                <a:gd name="connsiteY40" fmla="*/ 0 h 3441790"/>
                <a:gd name="connsiteX41" fmla="*/ 1406074 w 3969019"/>
                <a:gd name="connsiteY41" fmla="*/ 481708 h 3441790"/>
                <a:gd name="connsiteX42" fmla="*/ 3244419 w 3969019"/>
                <a:gd name="connsiteY42" fmla="*/ 678322 h 3441790"/>
                <a:gd name="connsiteX43" fmla="*/ 3962060 w 3969019"/>
                <a:gd name="connsiteY43" fmla="*/ 285094 h 3441790"/>
                <a:gd name="connsiteX44" fmla="*/ 3969019 w 3969019"/>
                <a:gd name="connsiteY44" fmla="*/ 2924852 h 3441790"/>
                <a:gd name="connsiteX45" fmla="*/ 3266335 w 3969019"/>
                <a:gd name="connsiteY45" fmla="*/ 3441790 h 3441790"/>
                <a:gd name="connsiteX46" fmla="*/ 1314729 w 3969019"/>
                <a:gd name="connsiteY46" fmla="*/ 3232476 h 3441790"/>
                <a:gd name="connsiteX47" fmla="*/ 6631 w 3969019"/>
                <a:gd name="connsiteY47" fmla="*/ 2684822 h 3441790"/>
                <a:gd name="connsiteX48" fmla="*/ 281 w 3969019"/>
                <a:gd name="connsiteY48" fmla="*/ 0 h 3441790"/>
                <a:gd name="connsiteX0" fmla="*/ 1382611 w 3975088"/>
                <a:gd name="connsiteY0" fmla="*/ 2892742 h 3441790"/>
                <a:gd name="connsiteX1" fmla="*/ 1382611 w 3975088"/>
                <a:gd name="connsiteY1" fmla="*/ 3030855 h 3441790"/>
                <a:gd name="connsiteX2" fmla="*/ 3216174 w 3975088"/>
                <a:gd name="connsiteY2" fmla="*/ 3235642 h 3441790"/>
                <a:gd name="connsiteX3" fmla="*/ 3216174 w 3975088"/>
                <a:gd name="connsiteY3" fmla="*/ 3078480 h 3441790"/>
                <a:gd name="connsiteX4" fmla="*/ 1382611 w 3975088"/>
                <a:gd name="connsiteY4" fmla="*/ 2892742 h 3441790"/>
                <a:gd name="connsiteX5" fmla="*/ 1382611 w 3975088"/>
                <a:gd name="connsiteY5" fmla="*/ 2592463 h 3441790"/>
                <a:gd name="connsiteX6" fmla="*/ 1382611 w 3975088"/>
                <a:gd name="connsiteY6" fmla="*/ 2730576 h 3441790"/>
                <a:gd name="connsiteX7" fmla="*/ 3216174 w 3975088"/>
                <a:gd name="connsiteY7" fmla="*/ 2935363 h 3441790"/>
                <a:gd name="connsiteX8" fmla="*/ 3216174 w 3975088"/>
                <a:gd name="connsiteY8" fmla="*/ 2778201 h 3441790"/>
                <a:gd name="connsiteX9" fmla="*/ 1382611 w 3975088"/>
                <a:gd name="connsiteY9" fmla="*/ 2592463 h 3441790"/>
                <a:gd name="connsiteX10" fmla="*/ 1382611 w 3975088"/>
                <a:gd name="connsiteY10" fmla="*/ 2292183 h 3441790"/>
                <a:gd name="connsiteX11" fmla="*/ 1382611 w 3975088"/>
                <a:gd name="connsiteY11" fmla="*/ 2430296 h 3441790"/>
                <a:gd name="connsiteX12" fmla="*/ 3216174 w 3975088"/>
                <a:gd name="connsiteY12" fmla="*/ 2635083 h 3441790"/>
                <a:gd name="connsiteX13" fmla="*/ 3216174 w 3975088"/>
                <a:gd name="connsiteY13" fmla="*/ 2477921 h 3441790"/>
                <a:gd name="connsiteX14" fmla="*/ 1382611 w 3975088"/>
                <a:gd name="connsiteY14" fmla="*/ 2292183 h 3441790"/>
                <a:gd name="connsiteX15" fmla="*/ 1382611 w 3975088"/>
                <a:gd name="connsiteY15" fmla="*/ 1991903 h 3441790"/>
                <a:gd name="connsiteX16" fmla="*/ 1382611 w 3975088"/>
                <a:gd name="connsiteY16" fmla="*/ 2130016 h 3441790"/>
                <a:gd name="connsiteX17" fmla="*/ 3216174 w 3975088"/>
                <a:gd name="connsiteY17" fmla="*/ 2334803 h 3441790"/>
                <a:gd name="connsiteX18" fmla="*/ 3216174 w 3975088"/>
                <a:gd name="connsiteY18" fmla="*/ 2177641 h 3441790"/>
                <a:gd name="connsiteX19" fmla="*/ 1382611 w 3975088"/>
                <a:gd name="connsiteY19" fmla="*/ 1991903 h 3441790"/>
                <a:gd name="connsiteX20" fmla="*/ 1382611 w 3975088"/>
                <a:gd name="connsiteY20" fmla="*/ 1691623 h 3441790"/>
                <a:gd name="connsiteX21" fmla="*/ 1382611 w 3975088"/>
                <a:gd name="connsiteY21" fmla="*/ 1829736 h 3441790"/>
                <a:gd name="connsiteX22" fmla="*/ 3216174 w 3975088"/>
                <a:gd name="connsiteY22" fmla="*/ 2034523 h 3441790"/>
                <a:gd name="connsiteX23" fmla="*/ 3216174 w 3975088"/>
                <a:gd name="connsiteY23" fmla="*/ 1877361 h 3441790"/>
                <a:gd name="connsiteX24" fmla="*/ 1382611 w 3975088"/>
                <a:gd name="connsiteY24" fmla="*/ 1691623 h 3441790"/>
                <a:gd name="connsiteX25" fmla="*/ 1382611 w 3975088"/>
                <a:gd name="connsiteY25" fmla="*/ 1391343 h 3441790"/>
                <a:gd name="connsiteX26" fmla="*/ 1382611 w 3975088"/>
                <a:gd name="connsiteY26" fmla="*/ 1529456 h 3441790"/>
                <a:gd name="connsiteX27" fmla="*/ 3216174 w 3975088"/>
                <a:gd name="connsiteY27" fmla="*/ 1734243 h 3441790"/>
                <a:gd name="connsiteX28" fmla="*/ 3216174 w 3975088"/>
                <a:gd name="connsiteY28" fmla="*/ 1577081 h 3441790"/>
                <a:gd name="connsiteX29" fmla="*/ 1382611 w 3975088"/>
                <a:gd name="connsiteY29" fmla="*/ 1391343 h 3441790"/>
                <a:gd name="connsiteX30" fmla="*/ 1373086 w 3975088"/>
                <a:gd name="connsiteY30" fmla="*/ 1095826 h 3441790"/>
                <a:gd name="connsiteX31" fmla="*/ 1373086 w 3975088"/>
                <a:gd name="connsiteY31" fmla="*/ 1248226 h 3441790"/>
                <a:gd name="connsiteX32" fmla="*/ 3206649 w 3975088"/>
                <a:gd name="connsiteY32" fmla="*/ 1433963 h 3441790"/>
                <a:gd name="connsiteX33" fmla="*/ 3206649 w 3975088"/>
                <a:gd name="connsiteY33" fmla="*/ 1281563 h 3441790"/>
                <a:gd name="connsiteX34" fmla="*/ 1373086 w 3975088"/>
                <a:gd name="connsiteY34" fmla="*/ 1095826 h 3441790"/>
                <a:gd name="connsiteX35" fmla="*/ 1382611 w 3975088"/>
                <a:gd name="connsiteY35" fmla="*/ 781258 h 3441790"/>
                <a:gd name="connsiteX36" fmla="*/ 1382611 w 3975088"/>
                <a:gd name="connsiteY36" fmla="*/ 947946 h 3441790"/>
                <a:gd name="connsiteX37" fmla="*/ 3206649 w 3975088"/>
                <a:gd name="connsiteY37" fmla="*/ 1138446 h 3441790"/>
                <a:gd name="connsiteX38" fmla="*/ 3206649 w 3975088"/>
                <a:gd name="connsiteY38" fmla="*/ 981283 h 3441790"/>
                <a:gd name="connsiteX39" fmla="*/ 1382611 w 3975088"/>
                <a:gd name="connsiteY39" fmla="*/ 781258 h 3441790"/>
                <a:gd name="connsiteX40" fmla="*/ 6350 w 3975088"/>
                <a:gd name="connsiteY40" fmla="*/ 0 h 3441790"/>
                <a:gd name="connsiteX41" fmla="*/ 1412143 w 3975088"/>
                <a:gd name="connsiteY41" fmla="*/ 481708 h 3441790"/>
                <a:gd name="connsiteX42" fmla="*/ 3250488 w 3975088"/>
                <a:gd name="connsiteY42" fmla="*/ 678322 h 3441790"/>
                <a:gd name="connsiteX43" fmla="*/ 3968129 w 3975088"/>
                <a:gd name="connsiteY43" fmla="*/ 285094 h 3441790"/>
                <a:gd name="connsiteX44" fmla="*/ 3975088 w 3975088"/>
                <a:gd name="connsiteY44" fmla="*/ 2924852 h 3441790"/>
                <a:gd name="connsiteX45" fmla="*/ 3272404 w 3975088"/>
                <a:gd name="connsiteY45" fmla="*/ 3441790 h 3441790"/>
                <a:gd name="connsiteX46" fmla="*/ 1320798 w 3975088"/>
                <a:gd name="connsiteY46" fmla="*/ 3232476 h 3441790"/>
                <a:gd name="connsiteX47" fmla="*/ 0 w 3975088"/>
                <a:gd name="connsiteY47" fmla="*/ 2659422 h 3441790"/>
                <a:gd name="connsiteX48" fmla="*/ 6350 w 3975088"/>
                <a:gd name="connsiteY48" fmla="*/ 0 h 344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975088" h="3441790">
                  <a:moveTo>
                    <a:pt x="1382611" y="2892742"/>
                  </a:moveTo>
                  <a:lnTo>
                    <a:pt x="1382611" y="3030855"/>
                  </a:lnTo>
                  <a:lnTo>
                    <a:pt x="3216174" y="3235642"/>
                  </a:lnTo>
                  <a:lnTo>
                    <a:pt x="3216174" y="3078480"/>
                  </a:lnTo>
                  <a:lnTo>
                    <a:pt x="1382611" y="2892742"/>
                  </a:lnTo>
                  <a:close/>
                  <a:moveTo>
                    <a:pt x="1382611" y="2592463"/>
                  </a:moveTo>
                  <a:lnTo>
                    <a:pt x="1382611" y="2730576"/>
                  </a:lnTo>
                  <a:lnTo>
                    <a:pt x="3216174" y="2935363"/>
                  </a:lnTo>
                  <a:lnTo>
                    <a:pt x="3216174" y="2778201"/>
                  </a:lnTo>
                  <a:lnTo>
                    <a:pt x="1382611" y="2592463"/>
                  </a:lnTo>
                  <a:close/>
                  <a:moveTo>
                    <a:pt x="1382611" y="2292183"/>
                  </a:moveTo>
                  <a:lnTo>
                    <a:pt x="1382611" y="2430296"/>
                  </a:lnTo>
                  <a:lnTo>
                    <a:pt x="3216174" y="2635083"/>
                  </a:lnTo>
                  <a:lnTo>
                    <a:pt x="3216174" y="2477921"/>
                  </a:lnTo>
                  <a:lnTo>
                    <a:pt x="1382611" y="2292183"/>
                  </a:lnTo>
                  <a:close/>
                  <a:moveTo>
                    <a:pt x="1382611" y="1991903"/>
                  </a:moveTo>
                  <a:lnTo>
                    <a:pt x="1382611" y="2130016"/>
                  </a:lnTo>
                  <a:lnTo>
                    <a:pt x="3216174" y="2334803"/>
                  </a:lnTo>
                  <a:lnTo>
                    <a:pt x="3216174" y="2177641"/>
                  </a:lnTo>
                  <a:lnTo>
                    <a:pt x="1382611" y="1991903"/>
                  </a:lnTo>
                  <a:close/>
                  <a:moveTo>
                    <a:pt x="1382611" y="1691623"/>
                  </a:moveTo>
                  <a:lnTo>
                    <a:pt x="1382611" y="1829736"/>
                  </a:lnTo>
                  <a:lnTo>
                    <a:pt x="3216174" y="2034523"/>
                  </a:lnTo>
                  <a:lnTo>
                    <a:pt x="3216174" y="1877361"/>
                  </a:lnTo>
                  <a:lnTo>
                    <a:pt x="1382611" y="1691623"/>
                  </a:lnTo>
                  <a:close/>
                  <a:moveTo>
                    <a:pt x="1382611" y="1391343"/>
                  </a:moveTo>
                  <a:lnTo>
                    <a:pt x="1382611" y="1529456"/>
                  </a:lnTo>
                  <a:lnTo>
                    <a:pt x="3216174" y="1734243"/>
                  </a:lnTo>
                  <a:lnTo>
                    <a:pt x="3216174" y="1577081"/>
                  </a:lnTo>
                  <a:lnTo>
                    <a:pt x="1382611" y="1391343"/>
                  </a:lnTo>
                  <a:close/>
                  <a:moveTo>
                    <a:pt x="1373086" y="1095826"/>
                  </a:moveTo>
                  <a:lnTo>
                    <a:pt x="1373086" y="1248226"/>
                  </a:lnTo>
                  <a:lnTo>
                    <a:pt x="3206649" y="1433963"/>
                  </a:lnTo>
                  <a:lnTo>
                    <a:pt x="3206649" y="1281563"/>
                  </a:lnTo>
                  <a:lnTo>
                    <a:pt x="1373086" y="1095826"/>
                  </a:lnTo>
                  <a:close/>
                  <a:moveTo>
                    <a:pt x="1382611" y="781258"/>
                  </a:moveTo>
                  <a:lnTo>
                    <a:pt x="1382611" y="947946"/>
                  </a:lnTo>
                  <a:lnTo>
                    <a:pt x="3206649" y="1138446"/>
                  </a:lnTo>
                  <a:lnTo>
                    <a:pt x="3206649" y="981283"/>
                  </a:lnTo>
                  <a:lnTo>
                    <a:pt x="1382611" y="781258"/>
                  </a:lnTo>
                  <a:close/>
                  <a:moveTo>
                    <a:pt x="6350" y="0"/>
                  </a:moveTo>
                  <a:lnTo>
                    <a:pt x="1412143" y="481708"/>
                  </a:lnTo>
                  <a:lnTo>
                    <a:pt x="3250488" y="678322"/>
                  </a:lnTo>
                  <a:lnTo>
                    <a:pt x="3968129" y="285094"/>
                  </a:lnTo>
                  <a:cubicBezTo>
                    <a:pt x="3974680" y="1150197"/>
                    <a:pt x="3968536" y="2059750"/>
                    <a:pt x="3975088" y="2924852"/>
                  </a:cubicBezTo>
                  <a:lnTo>
                    <a:pt x="3272404" y="3441790"/>
                  </a:lnTo>
                  <a:lnTo>
                    <a:pt x="1320798" y="3232476"/>
                  </a:lnTo>
                  <a:lnTo>
                    <a:pt x="0" y="2659422"/>
                  </a:lnTo>
                  <a:cubicBezTo>
                    <a:pt x="2117" y="1768715"/>
                    <a:pt x="4233" y="890707"/>
                    <a:pt x="6350" y="0"/>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7" name="Freeform 56"/>
            <p:cNvSpPr/>
            <p:nvPr/>
          </p:nvSpPr>
          <p:spPr>
            <a:xfrm>
              <a:off x="5653712" y="342970"/>
              <a:ext cx="2640337" cy="3090954"/>
            </a:xfrm>
            <a:custGeom>
              <a:avLst/>
              <a:gdLst>
                <a:gd name="connsiteX0" fmla="*/ 16382 w 668336"/>
                <a:gd name="connsiteY0" fmla="*/ 632250 h 782150"/>
                <a:gd name="connsiteX1" fmla="*/ 18763 w 668336"/>
                <a:gd name="connsiteY1" fmla="*/ 270300 h 782150"/>
                <a:gd name="connsiteX2" fmla="*/ 178307 w 668336"/>
                <a:gd name="connsiteY2" fmla="*/ 51225 h 782150"/>
                <a:gd name="connsiteX3" fmla="*/ 390238 w 668336"/>
                <a:gd name="connsiteY3" fmla="*/ 8362 h 782150"/>
                <a:gd name="connsiteX4" fmla="*/ 623601 w 668336"/>
                <a:gd name="connsiteY4" fmla="*/ 177431 h 782150"/>
                <a:gd name="connsiteX5" fmla="*/ 659320 w 668336"/>
                <a:gd name="connsiteY5" fmla="*/ 722737 h 782150"/>
                <a:gd name="connsiteX6" fmla="*/ 511682 w 668336"/>
                <a:gd name="connsiteY6" fmla="*/ 725119 h 782150"/>
                <a:gd name="connsiteX7" fmla="*/ 516445 w 668336"/>
                <a:gd name="connsiteY7" fmla="*/ 344119 h 782150"/>
                <a:gd name="connsiteX8" fmla="*/ 342613 w 668336"/>
                <a:gd name="connsiteY8" fmla="*/ 134569 h 782150"/>
                <a:gd name="connsiteX9" fmla="*/ 156876 w 668336"/>
                <a:gd name="connsiteY9" fmla="*/ 358406 h 782150"/>
                <a:gd name="connsiteX10" fmla="*/ 137826 w 668336"/>
                <a:gd name="connsiteY10" fmla="*/ 644156 h 782150"/>
                <a:gd name="connsiteX11" fmla="*/ 16382 w 668336"/>
                <a:gd name="connsiteY11" fmla="*/ 632250 h 782150"/>
                <a:gd name="connsiteX0" fmla="*/ 16382 w 668336"/>
                <a:gd name="connsiteY0" fmla="*/ 632250 h 782150"/>
                <a:gd name="connsiteX1" fmla="*/ 18763 w 668336"/>
                <a:gd name="connsiteY1" fmla="*/ 270300 h 782150"/>
                <a:gd name="connsiteX2" fmla="*/ 178307 w 668336"/>
                <a:gd name="connsiteY2" fmla="*/ 51225 h 782150"/>
                <a:gd name="connsiteX3" fmla="*/ 390238 w 668336"/>
                <a:gd name="connsiteY3" fmla="*/ 8362 h 782150"/>
                <a:gd name="connsiteX4" fmla="*/ 623601 w 668336"/>
                <a:gd name="connsiteY4" fmla="*/ 177431 h 782150"/>
                <a:gd name="connsiteX5" fmla="*/ 659320 w 668336"/>
                <a:gd name="connsiteY5" fmla="*/ 722737 h 782150"/>
                <a:gd name="connsiteX6" fmla="*/ 511682 w 668336"/>
                <a:gd name="connsiteY6" fmla="*/ 725119 h 782150"/>
                <a:gd name="connsiteX7" fmla="*/ 516445 w 668336"/>
                <a:gd name="connsiteY7" fmla="*/ 344119 h 782150"/>
                <a:gd name="connsiteX8" fmla="*/ 342613 w 668336"/>
                <a:gd name="connsiteY8" fmla="*/ 134569 h 782150"/>
                <a:gd name="connsiteX9" fmla="*/ 156876 w 668336"/>
                <a:gd name="connsiteY9" fmla="*/ 291731 h 782150"/>
                <a:gd name="connsiteX10" fmla="*/ 137826 w 668336"/>
                <a:gd name="connsiteY10" fmla="*/ 644156 h 782150"/>
                <a:gd name="connsiteX11" fmla="*/ 16382 w 668336"/>
                <a:gd name="connsiteY11" fmla="*/ 632250 h 782150"/>
                <a:gd name="connsiteX0" fmla="*/ 16382 w 668336"/>
                <a:gd name="connsiteY0" fmla="*/ 632250 h 784936"/>
                <a:gd name="connsiteX1" fmla="*/ 18763 w 668336"/>
                <a:gd name="connsiteY1" fmla="*/ 270300 h 784936"/>
                <a:gd name="connsiteX2" fmla="*/ 178307 w 668336"/>
                <a:gd name="connsiteY2" fmla="*/ 51225 h 784936"/>
                <a:gd name="connsiteX3" fmla="*/ 390238 w 668336"/>
                <a:gd name="connsiteY3" fmla="*/ 8362 h 784936"/>
                <a:gd name="connsiteX4" fmla="*/ 623601 w 668336"/>
                <a:gd name="connsiteY4" fmla="*/ 177431 h 784936"/>
                <a:gd name="connsiteX5" fmla="*/ 659320 w 668336"/>
                <a:gd name="connsiteY5" fmla="*/ 722737 h 784936"/>
                <a:gd name="connsiteX6" fmla="*/ 511682 w 668336"/>
                <a:gd name="connsiteY6" fmla="*/ 725119 h 784936"/>
                <a:gd name="connsiteX7" fmla="*/ 506920 w 668336"/>
                <a:gd name="connsiteY7" fmla="*/ 296494 h 784936"/>
                <a:gd name="connsiteX8" fmla="*/ 342613 w 668336"/>
                <a:gd name="connsiteY8" fmla="*/ 134569 h 784936"/>
                <a:gd name="connsiteX9" fmla="*/ 156876 w 668336"/>
                <a:gd name="connsiteY9" fmla="*/ 291731 h 784936"/>
                <a:gd name="connsiteX10" fmla="*/ 137826 w 668336"/>
                <a:gd name="connsiteY10" fmla="*/ 644156 h 784936"/>
                <a:gd name="connsiteX11" fmla="*/ 16382 w 668336"/>
                <a:gd name="connsiteY11" fmla="*/ 632250 h 784936"/>
                <a:gd name="connsiteX0" fmla="*/ 16382 w 667808"/>
                <a:gd name="connsiteY0" fmla="*/ 632250 h 781249"/>
                <a:gd name="connsiteX1" fmla="*/ 18763 w 667808"/>
                <a:gd name="connsiteY1" fmla="*/ 270300 h 781249"/>
                <a:gd name="connsiteX2" fmla="*/ 178307 w 667808"/>
                <a:gd name="connsiteY2" fmla="*/ 51225 h 781249"/>
                <a:gd name="connsiteX3" fmla="*/ 390238 w 667808"/>
                <a:gd name="connsiteY3" fmla="*/ 8362 h 781249"/>
                <a:gd name="connsiteX4" fmla="*/ 623601 w 667808"/>
                <a:gd name="connsiteY4" fmla="*/ 177431 h 781249"/>
                <a:gd name="connsiteX5" fmla="*/ 659320 w 667808"/>
                <a:gd name="connsiteY5" fmla="*/ 722737 h 781249"/>
                <a:gd name="connsiteX6" fmla="*/ 518826 w 667808"/>
                <a:gd name="connsiteY6" fmla="*/ 717975 h 781249"/>
                <a:gd name="connsiteX7" fmla="*/ 506920 w 667808"/>
                <a:gd name="connsiteY7" fmla="*/ 296494 h 781249"/>
                <a:gd name="connsiteX8" fmla="*/ 342613 w 667808"/>
                <a:gd name="connsiteY8" fmla="*/ 134569 h 781249"/>
                <a:gd name="connsiteX9" fmla="*/ 156876 w 667808"/>
                <a:gd name="connsiteY9" fmla="*/ 291731 h 781249"/>
                <a:gd name="connsiteX10" fmla="*/ 137826 w 667808"/>
                <a:gd name="connsiteY10" fmla="*/ 644156 h 781249"/>
                <a:gd name="connsiteX11" fmla="*/ 16382 w 667808"/>
                <a:gd name="connsiteY11" fmla="*/ 632250 h 781249"/>
                <a:gd name="connsiteX0" fmla="*/ 16382 w 667808"/>
                <a:gd name="connsiteY0" fmla="*/ 632250 h 778861"/>
                <a:gd name="connsiteX1" fmla="*/ 18763 w 667808"/>
                <a:gd name="connsiteY1" fmla="*/ 270300 h 778861"/>
                <a:gd name="connsiteX2" fmla="*/ 178307 w 667808"/>
                <a:gd name="connsiteY2" fmla="*/ 51225 h 778861"/>
                <a:gd name="connsiteX3" fmla="*/ 390238 w 667808"/>
                <a:gd name="connsiteY3" fmla="*/ 8362 h 778861"/>
                <a:gd name="connsiteX4" fmla="*/ 623601 w 667808"/>
                <a:gd name="connsiteY4" fmla="*/ 177431 h 778861"/>
                <a:gd name="connsiteX5" fmla="*/ 659320 w 667808"/>
                <a:gd name="connsiteY5" fmla="*/ 722737 h 778861"/>
                <a:gd name="connsiteX6" fmla="*/ 518826 w 667808"/>
                <a:gd name="connsiteY6" fmla="*/ 717975 h 778861"/>
                <a:gd name="connsiteX7" fmla="*/ 506920 w 667808"/>
                <a:gd name="connsiteY7" fmla="*/ 296494 h 778861"/>
                <a:gd name="connsiteX8" fmla="*/ 342613 w 667808"/>
                <a:gd name="connsiteY8" fmla="*/ 134569 h 778861"/>
                <a:gd name="connsiteX9" fmla="*/ 156876 w 667808"/>
                <a:gd name="connsiteY9" fmla="*/ 291731 h 778861"/>
                <a:gd name="connsiteX10" fmla="*/ 137826 w 667808"/>
                <a:gd name="connsiteY10" fmla="*/ 644156 h 778861"/>
                <a:gd name="connsiteX11" fmla="*/ 16382 w 667808"/>
                <a:gd name="connsiteY11" fmla="*/ 632250 h 778861"/>
                <a:gd name="connsiteX0" fmla="*/ 16382 w 667808"/>
                <a:gd name="connsiteY0" fmla="*/ 632250 h 772746"/>
                <a:gd name="connsiteX1" fmla="*/ 18763 w 667808"/>
                <a:gd name="connsiteY1" fmla="*/ 270300 h 772746"/>
                <a:gd name="connsiteX2" fmla="*/ 178307 w 667808"/>
                <a:gd name="connsiteY2" fmla="*/ 51225 h 772746"/>
                <a:gd name="connsiteX3" fmla="*/ 390238 w 667808"/>
                <a:gd name="connsiteY3" fmla="*/ 8362 h 772746"/>
                <a:gd name="connsiteX4" fmla="*/ 623601 w 667808"/>
                <a:gd name="connsiteY4" fmla="*/ 177431 h 772746"/>
                <a:gd name="connsiteX5" fmla="*/ 659320 w 667808"/>
                <a:gd name="connsiteY5" fmla="*/ 708449 h 772746"/>
                <a:gd name="connsiteX6" fmla="*/ 518826 w 667808"/>
                <a:gd name="connsiteY6" fmla="*/ 717975 h 772746"/>
                <a:gd name="connsiteX7" fmla="*/ 506920 w 667808"/>
                <a:gd name="connsiteY7" fmla="*/ 296494 h 772746"/>
                <a:gd name="connsiteX8" fmla="*/ 342613 w 667808"/>
                <a:gd name="connsiteY8" fmla="*/ 134569 h 772746"/>
                <a:gd name="connsiteX9" fmla="*/ 156876 w 667808"/>
                <a:gd name="connsiteY9" fmla="*/ 291731 h 772746"/>
                <a:gd name="connsiteX10" fmla="*/ 137826 w 667808"/>
                <a:gd name="connsiteY10" fmla="*/ 644156 h 772746"/>
                <a:gd name="connsiteX11" fmla="*/ 16382 w 667808"/>
                <a:gd name="connsiteY11" fmla="*/ 632250 h 772746"/>
                <a:gd name="connsiteX0" fmla="*/ 16382 w 667808"/>
                <a:gd name="connsiteY0" fmla="*/ 632250 h 772746"/>
                <a:gd name="connsiteX1" fmla="*/ 18763 w 667808"/>
                <a:gd name="connsiteY1" fmla="*/ 270300 h 772746"/>
                <a:gd name="connsiteX2" fmla="*/ 178307 w 667808"/>
                <a:gd name="connsiteY2" fmla="*/ 51225 h 772746"/>
                <a:gd name="connsiteX3" fmla="*/ 390238 w 667808"/>
                <a:gd name="connsiteY3" fmla="*/ 8362 h 772746"/>
                <a:gd name="connsiteX4" fmla="*/ 623601 w 667808"/>
                <a:gd name="connsiteY4" fmla="*/ 177431 h 772746"/>
                <a:gd name="connsiteX5" fmla="*/ 659320 w 667808"/>
                <a:gd name="connsiteY5" fmla="*/ 708449 h 772746"/>
                <a:gd name="connsiteX6" fmla="*/ 518826 w 667808"/>
                <a:gd name="connsiteY6" fmla="*/ 717975 h 772746"/>
                <a:gd name="connsiteX7" fmla="*/ 504539 w 667808"/>
                <a:gd name="connsiteY7" fmla="*/ 296494 h 772746"/>
                <a:gd name="connsiteX8" fmla="*/ 342613 w 667808"/>
                <a:gd name="connsiteY8" fmla="*/ 134569 h 772746"/>
                <a:gd name="connsiteX9" fmla="*/ 156876 w 667808"/>
                <a:gd name="connsiteY9" fmla="*/ 291731 h 772746"/>
                <a:gd name="connsiteX10" fmla="*/ 137826 w 667808"/>
                <a:gd name="connsiteY10" fmla="*/ 644156 h 772746"/>
                <a:gd name="connsiteX11" fmla="*/ 16382 w 667808"/>
                <a:gd name="connsiteY11" fmla="*/ 632250 h 772746"/>
                <a:gd name="connsiteX0" fmla="*/ 16382 w 672011"/>
                <a:gd name="connsiteY0" fmla="*/ 632250 h 772746"/>
                <a:gd name="connsiteX1" fmla="*/ 18763 w 672011"/>
                <a:gd name="connsiteY1" fmla="*/ 270300 h 772746"/>
                <a:gd name="connsiteX2" fmla="*/ 178307 w 672011"/>
                <a:gd name="connsiteY2" fmla="*/ 51225 h 772746"/>
                <a:gd name="connsiteX3" fmla="*/ 390238 w 672011"/>
                <a:gd name="connsiteY3" fmla="*/ 8362 h 772746"/>
                <a:gd name="connsiteX4" fmla="*/ 623601 w 672011"/>
                <a:gd name="connsiteY4" fmla="*/ 177431 h 772746"/>
                <a:gd name="connsiteX5" fmla="*/ 659320 w 672011"/>
                <a:gd name="connsiteY5" fmla="*/ 708449 h 772746"/>
                <a:gd name="connsiteX6" fmla="*/ 518826 w 672011"/>
                <a:gd name="connsiteY6" fmla="*/ 717975 h 772746"/>
                <a:gd name="connsiteX7" fmla="*/ 504539 w 672011"/>
                <a:gd name="connsiteY7" fmla="*/ 296494 h 772746"/>
                <a:gd name="connsiteX8" fmla="*/ 342613 w 672011"/>
                <a:gd name="connsiteY8" fmla="*/ 134569 h 772746"/>
                <a:gd name="connsiteX9" fmla="*/ 156876 w 672011"/>
                <a:gd name="connsiteY9" fmla="*/ 291731 h 772746"/>
                <a:gd name="connsiteX10" fmla="*/ 137826 w 672011"/>
                <a:gd name="connsiteY10" fmla="*/ 644156 h 772746"/>
                <a:gd name="connsiteX11" fmla="*/ 16382 w 672011"/>
                <a:gd name="connsiteY11" fmla="*/ 632250 h 772746"/>
                <a:gd name="connsiteX0" fmla="*/ 16382 w 672011"/>
                <a:gd name="connsiteY0" fmla="*/ 632250 h 772746"/>
                <a:gd name="connsiteX1" fmla="*/ 18763 w 672011"/>
                <a:gd name="connsiteY1" fmla="*/ 270300 h 772746"/>
                <a:gd name="connsiteX2" fmla="*/ 178307 w 672011"/>
                <a:gd name="connsiteY2" fmla="*/ 51225 h 772746"/>
                <a:gd name="connsiteX3" fmla="*/ 390238 w 672011"/>
                <a:gd name="connsiteY3" fmla="*/ 8362 h 772746"/>
                <a:gd name="connsiteX4" fmla="*/ 623601 w 672011"/>
                <a:gd name="connsiteY4" fmla="*/ 177431 h 772746"/>
                <a:gd name="connsiteX5" fmla="*/ 659320 w 672011"/>
                <a:gd name="connsiteY5" fmla="*/ 708449 h 772746"/>
                <a:gd name="connsiteX6" fmla="*/ 518826 w 672011"/>
                <a:gd name="connsiteY6" fmla="*/ 717975 h 772746"/>
                <a:gd name="connsiteX7" fmla="*/ 504539 w 672011"/>
                <a:gd name="connsiteY7" fmla="*/ 296494 h 772746"/>
                <a:gd name="connsiteX8" fmla="*/ 342613 w 672011"/>
                <a:gd name="connsiteY8" fmla="*/ 134569 h 772746"/>
                <a:gd name="connsiteX9" fmla="*/ 156876 w 672011"/>
                <a:gd name="connsiteY9" fmla="*/ 291731 h 772746"/>
                <a:gd name="connsiteX10" fmla="*/ 137826 w 672011"/>
                <a:gd name="connsiteY10" fmla="*/ 644156 h 772746"/>
                <a:gd name="connsiteX11" fmla="*/ 16382 w 672011"/>
                <a:gd name="connsiteY11" fmla="*/ 632250 h 772746"/>
                <a:gd name="connsiteX0" fmla="*/ 16382 w 666093"/>
                <a:gd name="connsiteY0" fmla="*/ 632250 h 772746"/>
                <a:gd name="connsiteX1" fmla="*/ 18763 w 666093"/>
                <a:gd name="connsiteY1" fmla="*/ 270300 h 772746"/>
                <a:gd name="connsiteX2" fmla="*/ 178307 w 666093"/>
                <a:gd name="connsiteY2" fmla="*/ 51225 h 772746"/>
                <a:gd name="connsiteX3" fmla="*/ 390238 w 666093"/>
                <a:gd name="connsiteY3" fmla="*/ 8362 h 772746"/>
                <a:gd name="connsiteX4" fmla="*/ 623601 w 666093"/>
                <a:gd name="connsiteY4" fmla="*/ 177431 h 772746"/>
                <a:gd name="connsiteX5" fmla="*/ 659320 w 666093"/>
                <a:gd name="connsiteY5" fmla="*/ 708449 h 772746"/>
                <a:gd name="connsiteX6" fmla="*/ 518826 w 666093"/>
                <a:gd name="connsiteY6" fmla="*/ 717975 h 772746"/>
                <a:gd name="connsiteX7" fmla="*/ 504539 w 666093"/>
                <a:gd name="connsiteY7" fmla="*/ 296494 h 772746"/>
                <a:gd name="connsiteX8" fmla="*/ 342613 w 666093"/>
                <a:gd name="connsiteY8" fmla="*/ 134569 h 772746"/>
                <a:gd name="connsiteX9" fmla="*/ 156876 w 666093"/>
                <a:gd name="connsiteY9" fmla="*/ 291731 h 772746"/>
                <a:gd name="connsiteX10" fmla="*/ 137826 w 666093"/>
                <a:gd name="connsiteY10" fmla="*/ 644156 h 772746"/>
                <a:gd name="connsiteX11" fmla="*/ 16382 w 666093"/>
                <a:gd name="connsiteY11" fmla="*/ 632250 h 772746"/>
                <a:gd name="connsiteX0" fmla="*/ 16382 w 666093"/>
                <a:gd name="connsiteY0" fmla="*/ 632250 h 772746"/>
                <a:gd name="connsiteX1" fmla="*/ 18763 w 666093"/>
                <a:gd name="connsiteY1" fmla="*/ 270300 h 772746"/>
                <a:gd name="connsiteX2" fmla="*/ 178307 w 666093"/>
                <a:gd name="connsiteY2" fmla="*/ 51225 h 772746"/>
                <a:gd name="connsiteX3" fmla="*/ 390238 w 666093"/>
                <a:gd name="connsiteY3" fmla="*/ 8362 h 772746"/>
                <a:gd name="connsiteX4" fmla="*/ 623601 w 666093"/>
                <a:gd name="connsiteY4" fmla="*/ 177431 h 772746"/>
                <a:gd name="connsiteX5" fmla="*/ 659320 w 666093"/>
                <a:gd name="connsiteY5" fmla="*/ 708449 h 772746"/>
                <a:gd name="connsiteX6" fmla="*/ 518826 w 666093"/>
                <a:gd name="connsiteY6" fmla="*/ 717975 h 772746"/>
                <a:gd name="connsiteX7" fmla="*/ 504539 w 666093"/>
                <a:gd name="connsiteY7" fmla="*/ 296494 h 772746"/>
                <a:gd name="connsiteX8" fmla="*/ 342613 w 666093"/>
                <a:gd name="connsiteY8" fmla="*/ 134569 h 772746"/>
                <a:gd name="connsiteX9" fmla="*/ 156876 w 666093"/>
                <a:gd name="connsiteY9" fmla="*/ 291731 h 772746"/>
                <a:gd name="connsiteX10" fmla="*/ 137826 w 666093"/>
                <a:gd name="connsiteY10" fmla="*/ 644156 h 772746"/>
                <a:gd name="connsiteX11" fmla="*/ 16382 w 666093"/>
                <a:gd name="connsiteY11" fmla="*/ 632250 h 772746"/>
                <a:gd name="connsiteX0" fmla="*/ 16382 w 666093"/>
                <a:gd name="connsiteY0" fmla="*/ 632250 h 754481"/>
                <a:gd name="connsiteX1" fmla="*/ 18763 w 666093"/>
                <a:gd name="connsiteY1" fmla="*/ 270300 h 754481"/>
                <a:gd name="connsiteX2" fmla="*/ 178307 w 666093"/>
                <a:gd name="connsiteY2" fmla="*/ 51225 h 754481"/>
                <a:gd name="connsiteX3" fmla="*/ 390238 w 666093"/>
                <a:gd name="connsiteY3" fmla="*/ 8362 h 754481"/>
                <a:gd name="connsiteX4" fmla="*/ 623601 w 666093"/>
                <a:gd name="connsiteY4" fmla="*/ 177431 h 754481"/>
                <a:gd name="connsiteX5" fmla="*/ 659320 w 666093"/>
                <a:gd name="connsiteY5" fmla="*/ 708449 h 754481"/>
                <a:gd name="connsiteX6" fmla="*/ 518826 w 666093"/>
                <a:gd name="connsiteY6" fmla="*/ 717975 h 754481"/>
                <a:gd name="connsiteX7" fmla="*/ 504539 w 666093"/>
                <a:gd name="connsiteY7" fmla="*/ 296494 h 754481"/>
                <a:gd name="connsiteX8" fmla="*/ 342613 w 666093"/>
                <a:gd name="connsiteY8" fmla="*/ 134569 h 754481"/>
                <a:gd name="connsiteX9" fmla="*/ 156876 w 666093"/>
                <a:gd name="connsiteY9" fmla="*/ 291731 h 754481"/>
                <a:gd name="connsiteX10" fmla="*/ 137826 w 666093"/>
                <a:gd name="connsiteY10" fmla="*/ 644156 h 754481"/>
                <a:gd name="connsiteX11" fmla="*/ 16382 w 666093"/>
                <a:gd name="connsiteY11" fmla="*/ 632250 h 754481"/>
                <a:gd name="connsiteX0" fmla="*/ 16382 w 666093"/>
                <a:gd name="connsiteY0" fmla="*/ 632250 h 754481"/>
                <a:gd name="connsiteX1" fmla="*/ 18763 w 666093"/>
                <a:gd name="connsiteY1" fmla="*/ 270300 h 754481"/>
                <a:gd name="connsiteX2" fmla="*/ 178307 w 666093"/>
                <a:gd name="connsiteY2" fmla="*/ 51225 h 754481"/>
                <a:gd name="connsiteX3" fmla="*/ 390238 w 666093"/>
                <a:gd name="connsiteY3" fmla="*/ 8362 h 754481"/>
                <a:gd name="connsiteX4" fmla="*/ 623601 w 666093"/>
                <a:gd name="connsiteY4" fmla="*/ 177431 h 754481"/>
                <a:gd name="connsiteX5" fmla="*/ 659320 w 666093"/>
                <a:gd name="connsiteY5" fmla="*/ 708449 h 754481"/>
                <a:gd name="connsiteX6" fmla="*/ 518826 w 666093"/>
                <a:gd name="connsiteY6" fmla="*/ 717975 h 754481"/>
                <a:gd name="connsiteX7" fmla="*/ 504539 w 666093"/>
                <a:gd name="connsiteY7" fmla="*/ 296494 h 754481"/>
                <a:gd name="connsiteX8" fmla="*/ 342613 w 666093"/>
                <a:gd name="connsiteY8" fmla="*/ 134569 h 754481"/>
                <a:gd name="connsiteX9" fmla="*/ 156876 w 666093"/>
                <a:gd name="connsiteY9" fmla="*/ 291731 h 754481"/>
                <a:gd name="connsiteX10" fmla="*/ 137826 w 666093"/>
                <a:gd name="connsiteY10" fmla="*/ 644156 h 754481"/>
                <a:gd name="connsiteX11" fmla="*/ 16382 w 666093"/>
                <a:gd name="connsiteY11" fmla="*/ 632250 h 754481"/>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42613 w 666093"/>
                <a:gd name="connsiteY8" fmla="*/ 134569 h 743186"/>
                <a:gd name="connsiteX9" fmla="*/ 156876 w 666093"/>
                <a:gd name="connsiteY9" fmla="*/ 291731 h 743186"/>
                <a:gd name="connsiteX10" fmla="*/ 137826 w 666093"/>
                <a:gd name="connsiteY10" fmla="*/ 644156 h 743186"/>
                <a:gd name="connsiteX11" fmla="*/ 16382 w 666093"/>
                <a:gd name="connsiteY11" fmla="*/ 632250 h 743186"/>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37851 w 666093"/>
                <a:gd name="connsiteY8" fmla="*/ 144094 h 743186"/>
                <a:gd name="connsiteX9" fmla="*/ 156876 w 666093"/>
                <a:gd name="connsiteY9" fmla="*/ 291731 h 743186"/>
                <a:gd name="connsiteX10" fmla="*/ 137826 w 666093"/>
                <a:gd name="connsiteY10" fmla="*/ 644156 h 743186"/>
                <a:gd name="connsiteX11" fmla="*/ 16382 w 666093"/>
                <a:gd name="connsiteY11" fmla="*/ 632250 h 743186"/>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35470 w 666093"/>
                <a:gd name="connsiteY8" fmla="*/ 132188 h 743186"/>
                <a:gd name="connsiteX9" fmla="*/ 156876 w 666093"/>
                <a:gd name="connsiteY9" fmla="*/ 291731 h 743186"/>
                <a:gd name="connsiteX10" fmla="*/ 137826 w 666093"/>
                <a:gd name="connsiteY10" fmla="*/ 644156 h 743186"/>
                <a:gd name="connsiteX11" fmla="*/ 16382 w 666093"/>
                <a:gd name="connsiteY11" fmla="*/ 632250 h 743186"/>
                <a:gd name="connsiteX0" fmla="*/ 16382 w 666093"/>
                <a:gd name="connsiteY0" fmla="*/ 632250 h 743186"/>
                <a:gd name="connsiteX1" fmla="*/ 18763 w 666093"/>
                <a:gd name="connsiteY1" fmla="*/ 270300 h 743186"/>
                <a:gd name="connsiteX2" fmla="*/ 178307 w 666093"/>
                <a:gd name="connsiteY2" fmla="*/ 51225 h 743186"/>
                <a:gd name="connsiteX3" fmla="*/ 390238 w 666093"/>
                <a:gd name="connsiteY3" fmla="*/ 8362 h 743186"/>
                <a:gd name="connsiteX4" fmla="*/ 623601 w 666093"/>
                <a:gd name="connsiteY4" fmla="*/ 177431 h 743186"/>
                <a:gd name="connsiteX5" fmla="*/ 659320 w 666093"/>
                <a:gd name="connsiteY5" fmla="*/ 708449 h 743186"/>
                <a:gd name="connsiteX6" fmla="*/ 518826 w 666093"/>
                <a:gd name="connsiteY6" fmla="*/ 717975 h 743186"/>
                <a:gd name="connsiteX7" fmla="*/ 504539 w 666093"/>
                <a:gd name="connsiteY7" fmla="*/ 296494 h 743186"/>
                <a:gd name="connsiteX8" fmla="*/ 335470 w 666093"/>
                <a:gd name="connsiteY8" fmla="*/ 132188 h 743186"/>
                <a:gd name="connsiteX9" fmla="*/ 156876 w 666093"/>
                <a:gd name="connsiteY9" fmla="*/ 291731 h 743186"/>
                <a:gd name="connsiteX10" fmla="*/ 137826 w 666093"/>
                <a:gd name="connsiteY10" fmla="*/ 644156 h 743186"/>
                <a:gd name="connsiteX11" fmla="*/ 16382 w 666093"/>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6528 w 666239"/>
                <a:gd name="connsiteY0" fmla="*/ 632250 h 743186"/>
                <a:gd name="connsiteX1" fmla="*/ 18909 w 666239"/>
                <a:gd name="connsiteY1" fmla="*/ 270300 h 743186"/>
                <a:gd name="connsiteX2" fmla="*/ 178453 w 666239"/>
                <a:gd name="connsiteY2" fmla="*/ 51225 h 743186"/>
                <a:gd name="connsiteX3" fmla="*/ 390384 w 666239"/>
                <a:gd name="connsiteY3" fmla="*/ 8362 h 743186"/>
                <a:gd name="connsiteX4" fmla="*/ 623747 w 666239"/>
                <a:gd name="connsiteY4" fmla="*/ 177431 h 743186"/>
                <a:gd name="connsiteX5" fmla="*/ 659466 w 666239"/>
                <a:gd name="connsiteY5" fmla="*/ 708449 h 743186"/>
                <a:gd name="connsiteX6" fmla="*/ 518972 w 666239"/>
                <a:gd name="connsiteY6" fmla="*/ 717975 h 743186"/>
                <a:gd name="connsiteX7" fmla="*/ 504685 w 666239"/>
                <a:gd name="connsiteY7" fmla="*/ 296494 h 743186"/>
                <a:gd name="connsiteX8" fmla="*/ 335616 w 666239"/>
                <a:gd name="connsiteY8" fmla="*/ 132188 h 743186"/>
                <a:gd name="connsiteX9" fmla="*/ 157022 w 666239"/>
                <a:gd name="connsiteY9" fmla="*/ 291731 h 743186"/>
                <a:gd name="connsiteX10" fmla="*/ 140353 w 666239"/>
                <a:gd name="connsiteY10" fmla="*/ 639394 h 743186"/>
                <a:gd name="connsiteX11" fmla="*/ 16528 w 666239"/>
                <a:gd name="connsiteY11" fmla="*/ 632250 h 743186"/>
                <a:gd name="connsiteX0" fmla="*/ 14253 w 663964"/>
                <a:gd name="connsiteY0" fmla="*/ 631315 h 742251"/>
                <a:gd name="connsiteX1" fmla="*/ 21397 w 663964"/>
                <a:gd name="connsiteY1" fmla="*/ 231265 h 742251"/>
                <a:gd name="connsiteX2" fmla="*/ 176178 w 663964"/>
                <a:gd name="connsiteY2" fmla="*/ 50290 h 742251"/>
                <a:gd name="connsiteX3" fmla="*/ 388109 w 663964"/>
                <a:gd name="connsiteY3" fmla="*/ 7427 h 742251"/>
                <a:gd name="connsiteX4" fmla="*/ 621472 w 663964"/>
                <a:gd name="connsiteY4" fmla="*/ 176496 h 742251"/>
                <a:gd name="connsiteX5" fmla="*/ 657191 w 663964"/>
                <a:gd name="connsiteY5" fmla="*/ 707514 h 742251"/>
                <a:gd name="connsiteX6" fmla="*/ 516697 w 663964"/>
                <a:gd name="connsiteY6" fmla="*/ 717040 h 742251"/>
                <a:gd name="connsiteX7" fmla="*/ 502410 w 663964"/>
                <a:gd name="connsiteY7" fmla="*/ 295559 h 742251"/>
                <a:gd name="connsiteX8" fmla="*/ 333341 w 663964"/>
                <a:gd name="connsiteY8" fmla="*/ 131253 h 742251"/>
                <a:gd name="connsiteX9" fmla="*/ 154747 w 663964"/>
                <a:gd name="connsiteY9" fmla="*/ 290796 h 742251"/>
                <a:gd name="connsiteX10" fmla="*/ 138078 w 663964"/>
                <a:gd name="connsiteY10" fmla="*/ 638459 h 742251"/>
                <a:gd name="connsiteX11" fmla="*/ 14253 w 663964"/>
                <a:gd name="connsiteY11" fmla="*/ 631315 h 742251"/>
                <a:gd name="connsiteX0" fmla="*/ 6688 w 656399"/>
                <a:gd name="connsiteY0" fmla="*/ 631315 h 742251"/>
                <a:gd name="connsiteX1" fmla="*/ 13832 w 656399"/>
                <a:gd name="connsiteY1" fmla="*/ 231265 h 742251"/>
                <a:gd name="connsiteX2" fmla="*/ 168613 w 656399"/>
                <a:gd name="connsiteY2" fmla="*/ 50290 h 742251"/>
                <a:gd name="connsiteX3" fmla="*/ 380544 w 656399"/>
                <a:gd name="connsiteY3" fmla="*/ 7427 h 742251"/>
                <a:gd name="connsiteX4" fmla="*/ 613907 w 656399"/>
                <a:gd name="connsiteY4" fmla="*/ 176496 h 742251"/>
                <a:gd name="connsiteX5" fmla="*/ 649626 w 656399"/>
                <a:gd name="connsiteY5" fmla="*/ 707514 h 742251"/>
                <a:gd name="connsiteX6" fmla="*/ 509132 w 656399"/>
                <a:gd name="connsiteY6" fmla="*/ 717040 h 742251"/>
                <a:gd name="connsiteX7" fmla="*/ 494845 w 656399"/>
                <a:gd name="connsiteY7" fmla="*/ 295559 h 742251"/>
                <a:gd name="connsiteX8" fmla="*/ 325776 w 656399"/>
                <a:gd name="connsiteY8" fmla="*/ 131253 h 742251"/>
                <a:gd name="connsiteX9" fmla="*/ 147182 w 656399"/>
                <a:gd name="connsiteY9" fmla="*/ 290796 h 742251"/>
                <a:gd name="connsiteX10" fmla="*/ 130513 w 656399"/>
                <a:gd name="connsiteY10" fmla="*/ 638459 h 742251"/>
                <a:gd name="connsiteX11" fmla="*/ 6688 w 656399"/>
                <a:gd name="connsiteY11" fmla="*/ 631315 h 742251"/>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0494 w 649711"/>
                <a:gd name="connsiteY9" fmla="*/ 290849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368 h 742304"/>
                <a:gd name="connsiteX1" fmla="*/ 21432 w 649711"/>
                <a:gd name="connsiteY1" fmla="*/ 233700 h 742304"/>
                <a:gd name="connsiteX2" fmla="*/ 161925 w 649711"/>
                <a:gd name="connsiteY2" fmla="*/ 50343 h 742304"/>
                <a:gd name="connsiteX3" fmla="*/ 373856 w 649711"/>
                <a:gd name="connsiteY3" fmla="*/ 7480 h 742304"/>
                <a:gd name="connsiteX4" fmla="*/ 607219 w 649711"/>
                <a:gd name="connsiteY4" fmla="*/ 176549 h 742304"/>
                <a:gd name="connsiteX5" fmla="*/ 642938 w 649711"/>
                <a:gd name="connsiteY5" fmla="*/ 707567 h 742304"/>
                <a:gd name="connsiteX6" fmla="*/ 502444 w 649711"/>
                <a:gd name="connsiteY6" fmla="*/ 717093 h 742304"/>
                <a:gd name="connsiteX7" fmla="*/ 488157 w 649711"/>
                <a:gd name="connsiteY7" fmla="*/ 295612 h 742304"/>
                <a:gd name="connsiteX8" fmla="*/ 319088 w 649711"/>
                <a:gd name="connsiteY8" fmla="*/ 131306 h 742304"/>
                <a:gd name="connsiteX9" fmla="*/ 145257 w 649711"/>
                <a:gd name="connsiteY9" fmla="*/ 278943 h 742304"/>
                <a:gd name="connsiteX10" fmla="*/ 123825 w 649711"/>
                <a:gd name="connsiteY10" fmla="*/ 638512 h 742304"/>
                <a:gd name="connsiteX11" fmla="*/ 0 w 649711"/>
                <a:gd name="connsiteY11" fmla="*/ 631368 h 742304"/>
                <a:gd name="connsiteX0" fmla="*/ 0 w 649711"/>
                <a:gd name="connsiteY0" fmla="*/ 631702 h 742638"/>
                <a:gd name="connsiteX1" fmla="*/ 21432 w 649711"/>
                <a:gd name="connsiteY1" fmla="*/ 234034 h 742638"/>
                <a:gd name="connsiteX2" fmla="*/ 161925 w 649711"/>
                <a:gd name="connsiteY2" fmla="*/ 50677 h 742638"/>
                <a:gd name="connsiteX3" fmla="*/ 373856 w 649711"/>
                <a:gd name="connsiteY3" fmla="*/ 7814 h 742638"/>
                <a:gd name="connsiteX4" fmla="*/ 607219 w 649711"/>
                <a:gd name="connsiteY4" fmla="*/ 181645 h 742638"/>
                <a:gd name="connsiteX5" fmla="*/ 642938 w 649711"/>
                <a:gd name="connsiteY5" fmla="*/ 707901 h 742638"/>
                <a:gd name="connsiteX6" fmla="*/ 502444 w 649711"/>
                <a:gd name="connsiteY6" fmla="*/ 717427 h 742638"/>
                <a:gd name="connsiteX7" fmla="*/ 488157 w 649711"/>
                <a:gd name="connsiteY7" fmla="*/ 295946 h 742638"/>
                <a:gd name="connsiteX8" fmla="*/ 319088 w 649711"/>
                <a:gd name="connsiteY8" fmla="*/ 131640 h 742638"/>
                <a:gd name="connsiteX9" fmla="*/ 145257 w 649711"/>
                <a:gd name="connsiteY9" fmla="*/ 279277 h 742638"/>
                <a:gd name="connsiteX10" fmla="*/ 123825 w 649711"/>
                <a:gd name="connsiteY10" fmla="*/ 638846 h 742638"/>
                <a:gd name="connsiteX11" fmla="*/ 0 w 649711"/>
                <a:gd name="connsiteY11" fmla="*/ 631702 h 742638"/>
                <a:gd name="connsiteX0" fmla="*/ 0 w 643851"/>
                <a:gd name="connsiteY0" fmla="*/ 631702 h 742638"/>
                <a:gd name="connsiteX1" fmla="*/ 21432 w 643851"/>
                <a:gd name="connsiteY1" fmla="*/ 234034 h 742638"/>
                <a:gd name="connsiteX2" fmla="*/ 161925 w 643851"/>
                <a:gd name="connsiteY2" fmla="*/ 50677 h 742638"/>
                <a:gd name="connsiteX3" fmla="*/ 373856 w 643851"/>
                <a:gd name="connsiteY3" fmla="*/ 7814 h 742638"/>
                <a:gd name="connsiteX4" fmla="*/ 607219 w 643851"/>
                <a:gd name="connsiteY4" fmla="*/ 181645 h 742638"/>
                <a:gd name="connsiteX5" fmla="*/ 642938 w 643851"/>
                <a:gd name="connsiteY5" fmla="*/ 707901 h 742638"/>
                <a:gd name="connsiteX6" fmla="*/ 502444 w 643851"/>
                <a:gd name="connsiteY6" fmla="*/ 717427 h 742638"/>
                <a:gd name="connsiteX7" fmla="*/ 488157 w 643851"/>
                <a:gd name="connsiteY7" fmla="*/ 295946 h 742638"/>
                <a:gd name="connsiteX8" fmla="*/ 319088 w 643851"/>
                <a:gd name="connsiteY8" fmla="*/ 131640 h 742638"/>
                <a:gd name="connsiteX9" fmla="*/ 145257 w 643851"/>
                <a:gd name="connsiteY9" fmla="*/ 279277 h 742638"/>
                <a:gd name="connsiteX10" fmla="*/ 123825 w 643851"/>
                <a:gd name="connsiteY10" fmla="*/ 638846 h 742638"/>
                <a:gd name="connsiteX11" fmla="*/ 0 w 643851"/>
                <a:gd name="connsiteY11" fmla="*/ 631702 h 742638"/>
                <a:gd name="connsiteX0" fmla="*/ 0 w 643851"/>
                <a:gd name="connsiteY0" fmla="*/ 631702 h 742638"/>
                <a:gd name="connsiteX1" fmla="*/ 21432 w 643851"/>
                <a:gd name="connsiteY1" fmla="*/ 234034 h 742638"/>
                <a:gd name="connsiteX2" fmla="*/ 161925 w 643851"/>
                <a:gd name="connsiteY2" fmla="*/ 50677 h 742638"/>
                <a:gd name="connsiteX3" fmla="*/ 373856 w 643851"/>
                <a:gd name="connsiteY3" fmla="*/ 7814 h 742638"/>
                <a:gd name="connsiteX4" fmla="*/ 607219 w 643851"/>
                <a:gd name="connsiteY4" fmla="*/ 181645 h 742638"/>
                <a:gd name="connsiteX5" fmla="*/ 642938 w 643851"/>
                <a:gd name="connsiteY5" fmla="*/ 707901 h 742638"/>
                <a:gd name="connsiteX6" fmla="*/ 502444 w 643851"/>
                <a:gd name="connsiteY6" fmla="*/ 717427 h 742638"/>
                <a:gd name="connsiteX7" fmla="*/ 488157 w 643851"/>
                <a:gd name="connsiteY7" fmla="*/ 295946 h 742638"/>
                <a:gd name="connsiteX8" fmla="*/ 319088 w 643851"/>
                <a:gd name="connsiteY8" fmla="*/ 131640 h 742638"/>
                <a:gd name="connsiteX9" fmla="*/ 145257 w 643851"/>
                <a:gd name="connsiteY9" fmla="*/ 279277 h 742638"/>
                <a:gd name="connsiteX10" fmla="*/ 123825 w 643851"/>
                <a:gd name="connsiteY10" fmla="*/ 638846 h 742638"/>
                <a:gd name="connsiteX11" fmla="*/ 0 w 643851"/>
                <a:gd name="connsiteY11" fmla="*/ 631702 h 742638"/>
                <a:gd name="connsiteX0" fmla="*/ 0 w 646134"/>
                <a:gd name="connsiteY0" fmla="*/ 631702 h 742638"/>
                <a:gd name="connsiteX1" fmla="*/ 21432 w 646134"/>
                <a:gd name="connsiteY1" fmla="*/ 234034 h 742638"/>
                <a:gd name="connsiteX2" fmla="*/ 161925 w 646134"/>
                <a:gd name="connsiteY2" fmla="*/ 50677 h 742638"/>
                <a:gd name="connsiteX3" fmla="*/ 373856 w 646134"/>
                <a:gd name="connsiteY3" fmla="*/ 7814 h 742638"/>
                <a:gd name="connsiteX4" fmla="*/ 607219 w 646134"/>
                <a:gd name="connsiteY4" fmla="*/ 181645 h 742638"/>
                <a:gd name="connsiteX5" fmla="*/ 642938 w 646134"/>
                <a:gd name="connsiteY5" fmla="*/ 707901 h 742638"/>
                <a:gd name="connsiteX6" fmla="*/ 502444 w 646134"/>
                <a:gd name="connsiteY6" fmla="*/ 717427 h 742638"/>
                <a:gd name="connsiteX7" fmla="*/ 488157 w 646134"/>
                <a:gd name="connsiteY7" fmla="*/ 295946 h 742638"/>
                <a:gd name="connsiteX8" fmla="*/ 319088 w 646134"/>
                <a:gd name="connsiteY8" fmla="*/ 131640 h 742638"/>
                <a:gd name="connsiteX9" fmla="*/ 145257 w 646134"/>
                <a:gd name="connsiteY9" fmla="*/ 279277 h 742638"/>
                <a:gd name="connsiteX10" fmla="*/ 123825 w 646134"/>
                <a:gd name="connsiteY10" fmla="*/ 638846 h 742638"/>
                <a:gd name="connsiteX11" fmla="*/ 0 w 646134"/>
                <a:gd name="connsiteY11" fmla="*/ 631702 h 742638"/>
                <a:gd name="connsiteX0" fmla="*/ 0 w 646134"/>
                <a:gd name="connsiteY0" fmla="*/ 629720 h 740656"/>
                <a:gd name="connsiteX1" fmla="*/ 21432 w 646134"/>
                <a:gd name="connsiteY1" fmla="*/ 232052 h 740656"/>
                <a:gd name="connsiteX2" fmla="*/ 161925 w 646134"/>
                <a:gd name="connsiteY2" fmla="*/ 48695 h 740656"/>
                <a:gd name="connsiteX3" fmla="*/ 373856 w 646134"/>
                <a:gd name="connsiteY3" fmla="*/ 5832 h 740656"/>
                <a:gd name="connsiteX4" fmla="*/ 607219 w 646134"/>
                <a:gd name="connsiteY4" fmla="*/ 179663 h 740656"/>
                <a:gd name="connsiteX5" fmla="*/ 642938 w 646134"/>
                <a:gd name="connsiteY5" fmla="*/ 705919 h 740656"/>
                <a:gd name="connsiteX6" fmla="*/ 502444 w 646134"/>
                <a:gd name="connsiteY6" fmla="*/ 715445 h 740656"/>
                <a:gd name="connsiteX7" fmla="*/ 488157 w 646134"/>
                <a:gd name="connsiteY7" fmla="*/ 293964 h 740656"/>
                <a:gd name="connsiteX8" fmla="*/ 319088 w 646134"/>
                <a:gd name="connsiteY8" fmla="*/ 129658 h 740656"/>
                <a:gd name="connsiteX9" fmla="*/ 145257 w 646134"/>
                <a:gd name="connsiteY9" fmla="*/ 277295 h 740656"/>
                <a:gd name="connsiteX10" fmla="*/ 123825 w 646134"/>
                <a:gd name="connsiteY10" fmla="*/ 636864 h 740656"/>
                <a:gd name="connsiteX11" fmla="*/ 0 w 646134"/>
                <a:gd name="connsiteY11" fmla="*/ 629720 h 740656"/>
                <a:gd name="connsiteX0" fmla="*/ 0 w 644226"/>
                <a:gd name="connsiteY0" fmla="*/ 631869 h 742805"/>
                <a:gd name="connsiteX1" fmla="*/ 21432 w 644226"/>
                <a:gd name="connsiteY1" fmla="*/ 234201 h 742805"/>
                <a:gd name="connsiteX2" fmla="*/ 161925 w 644226"/>
                <a:gd name="connsiteY2" fmla="*/ 50844 h 742805"/>
                <a:gd name="connsiteX3" fmla="*/ 373856 w 644226"/>
                <a:gd name="connsiteY3" fmla="*/ 7981 h 742805"/>
                <a:gd name="connsiteX4" fmla="*/ 597694 w 644226"/>
                <a:gd name="connsiteY4" fmla="*/ 184194 h 742805"/>
                <a:gd name="connsiteX5" fmla="*/ 642938 w 644226"/>
                <a:gd name="connsiteY5" fmla="*/ 708068 h 742805"/>
                <a:gd name="connsiteX6" fmla="*/ 502444 w 644226"/>
                <a:gd name="connsiteY6" fmla="*/ 717594 h 742805"/>
                <a:gd name="connsiteX7" fmla="*/ 488157 w 644226"/>
                <a:gd name="connsiteY7" fmla="*/ 296113 h 742805"/>
                <a:gd name="connsiteX8" fmla="*/ 319088 w 644226"/>
                <a:gd name="connsiteY8" fmla="*/ 131807 h 742805"/>
                <a:gd name="connsiteX9" fmla="*/ 145257 w 644226"/>
                <a:gd name="connsiteY9" fmla="*/ 279444 h 742805"/>
                <a:gd name="connsiteX10" fmla="*/ 123825 w 644226"/>
                <a:gd name="connsiteY10" fmla="*/ 639013 h 742805"/>
                <a:gd name="connsiteX11" fmla="*/ 0 w 644226"/>
                <a:gd name="connsiteY11" fmla="*/ 631869 h 742805"/>
                <a:gd name="connsiteX0" fmla="*/ 0 w 644226"/>
                <a:gd name="connsiteY0" fmla="*/ 628907 h 739843"/>
                <a:gd name="connsiteX1" fmla="*/ 21432 w 644226"/>
                <a:gd name="connsiteY1" fmla="*/ 231239 h 739843"/>
                <a:gd name="connsiteX2" fmla="*/ 161925 w 644226"/>
                <a:gd name="connsiteY2" fmla="*/ 47882 h 739843"/>
                <a:gd name="connsiteX3" fmla="*/ 373856 w 644226"/>
                <a:gd name="connsiteY3" fmla="*/ 5019 h 739843"/>
                <a:gd name="connsiteX4" fmla="*/ 597694 w 644226"/>
                <a:gd name="connsiteY4" fmla="*/ 181232 h 739843"/>
                <a:gd name="connsiteX5" fmla="*/ 642938 w 644226"/>
                <a:gd name="connsiteY5" fmla="*/ 705106 h 739843"/>
                <a:gd name="connsiteX6" fmla="*/ 502444 w 644226"/>
                <a:gd name="connsiteY6" fmla="*/ 714632 h 739843"/>
                <a:gd name="connsiteX7" fmla="*/ 488157 w 644226"/>
                <a:gd name="connsiteY7" fmla="*/ 293151 h 739843"/>
                <a:gd name="connsiteX8" fmla="*/ 319088 w 644226"/>
                <a:gd name="connsiteY8" fmla="*/ 128845 h 739843"/>
                <a:gd name="connsiteX9" fmla="*/ 145257 w 644226"/>
                <a:gd name="connsiteY9" fmla="*/ 276482 h 739843"/>
                <a:gd name="connsiteX10" fmla="*/ 123825 w 644226"/>
                <a:gd name="connsiteY10" fmla="*/ 636051 h 739843"/>
                <a:gd name="connsiteX11" fmla="*/ 0 w 644226"/>
                <a:gd name="connsiteY11" fmla="*/ 628907 h 739843"/>
                <a:gd name="connsiteX0" fmla="*/ 0 w 644226"/>
                <a:gd name="connsiteY0" fmla="*/ 628907 h 739843"/>
                <a:gd name="connsiteX1" fmla="*/ 21432 w 644226"/>
                <a:gd name="connsiteY1" fmla="*/ 231239 h 739843"/>
                <a:gd name="connsiteX2" fmla="*/ 161925 w 644226"/>
                <a:gd name="connsiteY2" fmla="*/ 47882 h 739843"/>
                <a:gd name="connsiteX3" fmla="*/ 373856 w 644226"/>
                <a:gd name="connsiteY3" fmla="*/ 5019 h 739843"/>
                <a:gd name="connsiteX4" fmla="*/ 597694 w 644226"/>
                <a:gd name="connsiteY4" fmla="*/ 181232 h 739843"/>
                <a:gd name="connsiteX5" fmla="*/ 642938 w 644226"/>
                <a:gd name="connsiteY5" fmla="*/ 705106 h 739843"/>
                <a:gd name="connsiteX6" fmla="*/ 502444 w 644226"/>
                <a:gd name="connsiteY6" fmla="*/ 714632 h 739843"/>
                <a:gd name="connsiteX7" fmla="*/ 488157 w 644226"/>
                <a:gd name="connsiteY7" fmla="*/ 293151 h 739843"/>
                <a:gd name="connsiteX8" fmla="*/ 319088 w 644226"/>
                <a:gd name="connsiteY8" fmla="*/ 135989 h 739843"/>
                <a:gd name="connsiteX9" fmla="*/ 145257 w 644226"/>
                <a:gd name="connsiteY9" fmla="*/ 276482 h 739843"/>
                <a:gd name="connsiteX10" fmla="*/ 123825 w 644226"/>
                <a:gd name="connsiteY10" fmla="*/ 636051 h 739843"/>
                <a:gd name="connsiteX11" fmla="*/ 0 w 644226"/>
                <a:gd name="connsiteY11" fmla="*/ 628907 h 739843"/>
                <a:gd name="connsiteX0" fmla="*/ 0 w 644226"/>
                <a:gd name="connsiteY0" fmla="*/ 628907 h 748339"/>
                <a:gd name="connsiteX1" fmla="*/ 21432 w 644226"/>
                <a:gd name="connsiteY1" fmla="*/ 231239 h 748339"/>
                <a:gd name="connsiteX2" fmla="*/ 161925 w 644226"/>
                <a:gd name="connsiteY2" fmla="*/ 47882 h 748339"/>
                <a:gd name="connsiteX3" fmla="*/ 373856 w 644226"/>
                <a:gd name="connsiteY3" fmla="*/ 5019 h 748339"/>
                <a:gd name="connsiteX4" fmla="*/ 597694 w 644226"/>
                <a:gd name="connsiteY4" fmla="*/ 181232 h 748339"/>
                <a:gd name="connsiteX5" fmla="*/ 642938 w 644226"/>
                <a:gd name="connsiteY5" fmla="*/ 705106 h 748339"/>
                <a:gd name="connsiteX6" fmla="*/ 505905 w 644226"/>
                <a:gd name="connsiteY6" fmla="*/ 727322 h 748339"/>
                <a:gd name="connsiteX7" fmla="*/ 488157 w 644226"/>
                <a:gd name="connsiteY7" fmla="*/ 293151 h 748339"/>
                <a:gd name="connsiteX8" fmla="*/ 319088 w 644226"/>
                <a:gd name="connsiteY8" fmla="*/ 135989 h 748339"/>
                <a:gd name="connsiteX9" fmla="*/ 145257 w 644226"/>
                <a:gd name="connsiteY9" fmla="*/ 276482 h 748339"/>
                <a:gd name="connsiteX10" fmla="*/ 123825 w 644226"/>
                <a:gd name="connsiteY10" fmla="*/ 636051 h 748339"/>
                <a:gd name="connsiteX11" fmla="*/ 0 w 644226"/>
                <a:gd name="connsiteY11" fmla="*/ 628907 h 748339"/>
                <a:gd name="connsiteX0" fmla="*/ 0 w 639557"/>
                <a:gd name="connsiteY0" fmla="*/ 628907 h 754869"/>
                <a:gd name="connsiteX1" fmla="*/ 21432 w 639557"/>
                <a:gd name="connsiteY1" fmla="*/ 231239 h 754869"/>
                <a:gd name="connsiteX2" fmla="*/ 161925 w 639557"/>
                <a:gd name="connsiteY2" fmla="*/ 47882 h 754869"/>
                <a:gd name="connsiteX3" fmla="*/ 373856 w 639557"/>
                <a:gd name="connsiteY3" fmla="*/ 5019 h 754869"/>
                <a:gd name="connsiteX4" fmla="*/ 597694 w 639557"/>
                <a:gd name="connsiteY4" fmla="*/ 181232 h 754869"/>
                <a:gd name="connsiteX5" fmla="*/ 638324 w 639557"/>
                <a:gd name="connsiteY5" fmla="*/ 723564 h 754869"/>
                <a:gd name="connsiteX6" fmla="*/ 505905 w 639557"/>
                <a:gd name="connsiteY6" fmla="*/ 727322 h 754869"/>
                <a:gd name="connsiteX7" fmla="*/ 488157 w 639557"/>
                <a:gd name="connsiteY7" fmla="*/ 293151 h 754869"/>
                <a:gd name="connsiteX8" fmla="*/ 319088 w 639557"/>
                <a:gd name="connsiteY8" fmla="*/ 135989 h 754869"/>
                <a:gd name="connsiteX9" fmla="*/ 145257 w 639557"/>
                <a:gd name="connsiteY9" fmla="*/ 276482 h 754869"/>
                <a:gd name="connsiteX10" fmla="*/ 123825 w 639557"/>
                <a:gd name="connsiteY10" fmla="*/ 636051 h 754869"/>
                <a:gd name="connsiteX11" fmla="*/ 0 w 639557"/>
                <a:gd name="connsiteY11" fmla="*/ 628907 h 754869"/>
                <a:gd name="connsiteX0" fmla="*/ 0 w 639557"/>
                <a:gd name="connsiteY0" fmla="*/ 628907 h 752977"/>
                <a:gd name="connsiteX1" fmla="*/ 21432 w 639557"/>
                <a:gd name="connsiteY1" fmla="*/ 231239 h 752977"/>
                <a:gd name="connsiteX2" fmla="*/ 161925 w 639557"/>
                <a:gd name="connsiteY2" fmla="*/ 47882 h 752977"/>
                <a:gd name="connsiteX3" fmla="*/ 373856 w 639557"/>
                <a:gd name="connsiteY3" fmla="*/ 5019 h 752977"/>
                <a:gd name="connsiteX4" fmla="*/ 597694 w 639557"/>
                <a:gd name="connsiteY4" fmla="*/ 181232 h 752977"/>
                <a:gd name="connsiteX5" fmla="*/ 638324 w 639557"/>
                <a:gd name="connsiteY5" fmla="*/ 723564 h 752977"/>
                <a:gd name="connsiteX6" fmla="*/ 505905 w 639557"/>
                <a:gd name="connsiteY6" fmla="*/ 727322 h 752977"/>
                <a:gd name="connsiteX7" fmla="*/ 488157 w 639557"/>
                <a:gd name="connsiteY7" fmla="*/ 293151 h 752977"/>
                <a:gd name="connsiteX8" fmla="*/ 319088 w 639557"/>
                <a:gd name="connsiteY8" fmla="*/ 135989 h 752977"/>
                <a:gd name="connsiteX9" fmla="*/ 145257 w 639557"/>
                <a:gd name="connsiteY9" fmla="*/ 276482 h 752977"/>
                <a:gd name="connsiteX10" fmla="*/ 123825 w 639557"/>
                <a:gd name="connsiteY10" fmla="*/ 636051 h 752977"/>
                <a:gd name="connsiteX11" fmla="*/ 0 w 639557"/>
                <a:gd name="connsiteY11" fmla="*/ 628907 h 752977"/>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3825 w 639557"/>
                <a:gd name="connsiteY10" fmla="*/ 636051 h 748708"/>
                <a:gd name="connsiteX11" fmla="*/ 0 w 639557"/>
                <a:gd name="connsiteY11" fmla="*/ 628907 h 748708"/>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3825 w 639557"/>
                <a:gd name="connsiteY10" fmla="*/ 636051 h 748708"/>
                <a:gd name="connsiteX11" fmla="*/ 0 w 639557"/>
                <a:gd name="connsiteY11" fmla="*/ 628907 h 748708"/>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1518 w 639557"/>
                <a:gd name="connsiteY10" fmla="*/ 645280 h 748708"/>
                <a:gd name="connsiteX11" fmla="*/ 0 w 639557"/>
                <a:gd name="connsiteY11" fmla="*/ 628907 h 748708"/>
                <a:gd name="connsiteX0" fmla="*/ 0 w 639557"/>
                <a:gd name="connsiteY0" fmla="*/ 628907 h 748708"/>
                <a:gd name="connsiteX1" fmla="*/ 21432 w 639557"/>
                <a:gd name="connsiteY1" fmla="*/ 231239 h 748708"/>
                <a:gd name="connsiteX2" fmla="*/ 161925 w 639557"/>
                <a:gd name="connsiteY2" fmla="*/ 47882 h 748708"/>
                <a:gd name="connsiteX3" fmla="*/ 373856 w 639557"/>
                <a:gd name="connsiteY3" fmla="*/ 5019 h 748708"/>
                <a:gd name="connsiteX4" fmla="*/ 597694 w 639557"/>
                <a:gd name="connsiteY4" fmla="*/ 181232 h 748708"/>
                <a:gd name="connsiteX5" fmla="*/ 638324 w 639557"/>
                <a:gd name="connsiteY5" fmla="*/ 723564 h 748708"/>
                <a:gd name="connsiteX6" fmla="*/ 505905 w 639557"/>
                <a:gd name="connsiteY6" fmla="*/ 727322 h 748708"/>
                <a:gd name="connsiteX7" fmla="*/ 488157 w 639557"/>
                <a:gd name="connsiteY7" fmla="*/ 293151 h 748708"/>
                <a:gd name="connsiteX8" fmla="*/ 319088 w 639557"/>
                <a:gd name="connsiteY8" fmla="*/ 135989 h 748708"/>
                <a:gd name="connsiteX9" fmla="*/ 145257 w 639557"/>
                <a:gd name="connsiteY9" fmla="*/ 276482 h 748708"/>
                <a:gd name="connsiteX10" fmla="*/ 121518 w 639557"/>
                <a:gd name="connsiteY10" fmla="*/ 645280 h 748708"/>
                <a:gd name="connsiteX11" fmla="*/ 0 w 639557"/>
                <a:gd name="connsiteY11" fmla="*/ 628907 h 74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9557" h="748708">
                  <a:moveTo>
                    <a:pt x="0" y="628907"/>
                  </a:moveTo>
                  <a:cubicBezTo>
                    <a:pt x="1191" y="550722"/>
                    <a:pt x="-5556" y="328076"/>
                    <a:pt x="21432" y="231239"/>
                  </a:cubicBezTo>
                  <a:cubicBezTo>
                    <a:pt x="48420" y="134401"/>
                    <a:pt x="103188" y="85585"/>
                    <a:pt x="161925" y="47882"/>
                  </a:cubicBezTo>
                  <a:cubicBezTo>
                    <a:pt x="220662" y="10179"/>
                    <a:pt x="301228" y="-10062"/>
                    <a:pt x="373856" y="5019"/>
                  </a:cubicBezTo>
                  <a:cubicBezTo>
                    <a:pt x="446484" y="20100"/>
                    <a:pt x="553616" y="61475"/>
                    <a:pt x="597694" y="181232"/>
                  </a:cubicBezTo>
                  <a:cubicBezTo>
                    <a:pt x="641772" y="300989"/>
                    <a:pt x="641500" y="545366"/>
                    <a:pt x="638324" y="723564"/>
                  </a:cubicBezTo>
                  <a:cubicBezTo>
                    <a:pt x="631763" y="753118"/>
                    <a:pt x="535534" y="759404"/>
                    <a:pt x="505905" y="727322"/>
                  </a:cubicBezTo>
                  <a:cubicBezTo>
                    <a:pt x="494395" y="646757"/>
                    <a:pt x="519293" y="391706"/>
                    <a:pt x="488157" y="293151"/>
                  </a:cubicBezTo>
                  <a:cubicBezTo>
                    <a:pt x="457021" y="194596"/>
                    <a:pt x="376238" y="138767"/>
                    <a:pt x="319088" y="135989"/>
                  </a:cubicBezTo>
                  <a:cubicBezTo>
                    <a:pt x="261938" y="133211"/>
                    <a:pt x="179388" y="191551"/>
                    <a:pt x="145257" y="276482"/>
                  </a:cubicBezTo>
                  <a:cubicBezTo>
                    <a:pt x="111126" y="361413"/>
                    <a:pt x="129058" y="600830"/>
                    <a:pt x="121518" y="645280"/>
                  </a:cubicBezTo>
                  <a:cubicBezTo>
                    <a:pt x="101849" y="666288"/>
                    <a:pt x="18865" y="664599"/>
                    <a:pt x="0" y="628907"/>
                  </a:cubicBez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58" name="Freeform 57"/>
          <p:cNvSpPr/>
          <p:nvPr/>
        </p:nvSpPr>
        <p:spPr>
          <a:xfrm>
            <a:off x="5942503" y="1918580"/>
            <a:ext cx="205105" cy="266884"/>
          </a:xfrm>
          <a:custGeom>
            <a:avLst/>
            <a:gdLst/>
            <a:ahLst/>
            <a:cxnLst/>
            <a:rect l="l" t="t" r="r" b="b"/>
            <a:pathLst>
              <a:path w="958850" h="1247661">
                <a:moveTo>
                  <a:pt x="792516" y="245638"/>
                </a:moveTo>
                <a:cubicBezTo>
                  <a:pt x="831104" y="242291"/>
                  <a:pt x="868920" y="242265"/>
                  <a:pt x="905411" y="245967"/>
                </a:cubicBezTo>
                <a:cubicBezTo>
                  <a:pt x="904187" y="404753"/>
                  <a:pt x="900700" y="588443"/>
                  <a:pt x="899849" y="741852"/>
                </a:cubicBezTo>
                <a:cubicBezTo>
                  <a:pt x="898917" y="861809"/>
                  <a:pt x="766317" y="1131361"/>
                  <a:pt x="476841" y="1184272"/>
                </a:cubicBezTo>
                <a:cubicBezTo>
                  <a:pt x="160284" y="1117354"/>
                  <a:pt x="59433" y="864797"/>
                  <a:pt x="56632" y="741852"/>
                </a:cubicBezTo>
                <a:cubicBezTo>
                  <a:pt x="56727" y="724512"/>
                  <a:pt x="56758" y="706849"/>
                  <a:pt x="56527" y="688929"/>
                </a:cubicBezTo>
                <a:cubicBezTo>
                  <a:pt x="214107" y="455439"/>
                  <a:pt x="522231" y="269078"/>
                  <a:pt x="792516" y="245638"/>
                </a:cubicBezTo>
                <a:close/>
                <a:moveTo>
                  <a:pt x="459310" y="64544"/>
                </a:moveTo>
                <a:cubicBezTo>
                  <a:pt x="628769" y="61165"/>
                  <a:pt x="804975" y="103004"/>
                  <a:pt x="905825" y="200312"/>
                </a:cubicBezTo>
                <a:cubicBezTo>
                  <a:pt x="905791" y="206483"/>
                  <a:pt x="905753" y="212703"/>
                  <a:pt x="905656" y="218968"/>
                </a:cubicBezTo>
                <a:cubicBezTo>
                  <a:pt x="552313" y="213728"/>
                  <a:pt x="331778" y="268639"/>
                  <a:pt x="54545" y="431096"/>
                </a:cubicBezTo>
                <a:cubicBezTo>
                  <a:pt x="53605" y="351641"/>
                  <a:pt x="52875" y="273004"/>
                  <a:pt x="53275" y="200089"/>
                </a:cubicBezTo>
                <a:cubicBezTo>
                  <a:pt x="127138" y="116522"/>
                  <a:pt x="289851" y="67924"/>
                  <a:pt x="459310" y="64544"/>
                </a:cubicBezTo>
                <a:close/>
                <a:moveTo>
                  <a:pt x="460320" y="30559"/>
                </a:moveTo>
                <a:cubicBezTo>
                  <a:pt x="278266" y="35845"/>
                  <a:pt x="102548" y="95174"/>
                  <a:pt x="29000" y="192567"/>
                </a:cubicBezTo>
                <a:cubicBezTo>
                  <a:pt x="28006" y="373716"/>
                  <a:pt x="30187" y="564390"/>
                  <a:pt x="29193" y="745539"/>
                </a:cubicBezTo>
                <a:cubicBezTo>
                  <a:pt x="32175" y="876396"/>
                  <a:pt x="139515" y="1138447"/>
                  <a:pt x="476443" y="1209671"/>
                </a:cubicBezTo>
                <a:cubicBezTo>
                  <a:pt x="784547" y="1153355"/>
                  <a:pt x="925680" y="900250"/>
                  <a:pt x="926674" y="745539"/>
                </a:cubicBezTo>
                <a:cubicBezTo>
                  <a:pt x="927667" y="566348"/>
                  <a:pt x="928662" y="371996"/>
                  <a:pt x="929655" y="192805"/>
                </a:cubicBezTo>
                <a:cubicBezTo>
                  <a:pt x="830764" y="74029"/>
                  <a:pt x="642374" y="25273"/>
                  <a:pt x="460320" y="30559"/>
                </a:cubicBezTo>
                <a:close/>
                <a:moveTo>
                  <a:pt x="460772" y="543"/>
                </a:moveTo>
                <a:cubicBezTo>
                  <a:pt x="653786" y="-5932"/>
                  <a:pt x="853546" y="45141"/>
                  <a:pt x="958850" y="171619"/>
                </a:cubicBezTo>
                <a:cubicBezTo>
                  <a:pt x="957792" y="362429"/>
                  <a:pt x="956733" y="562623"/>
                  <a:pt x="955675" y="753433"/>
                </a:cubicBezTo>
                <a:cubicBezTo>
                  <a:pt x="954617" y="918176"/>
                  <a:pt x="804333" y="1187694"/>
                  <a:pt x="476250" y="1247661"/>
                </a:cubicBezTo>
                <a:cubicBezTo>
                  <a:pt x="117475" y="1171818"/>
                  <a:pt x="3175" y="892775"/>
                  <a:pt x="0" y="753433"/>
                </a:cubicBezTo>
                <a:cubicBezTo>
                  <a:pt x="1058" y="560537"/>
                  <a:pt x="2117" y="367643"/>
                  <a:pt x="3175" y="174747"/>
                </a:cubicBezTo>
                <a:cubicBezTo>
                  <a:pt x="81492" y="71038"/>
                  <a:pt x="267758" y="7017"/>
                  <a:pt x="460772" y="543"/>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9" name="Oval 46"/>
          <p:cNvSpPr/>
          <p:nvPr/>
        </p:nvSpPr>
        <p:spPr>
          <a:xfrm>
            <a:off x="5920793" y="4605786"/>
            <a:ext cx="261271" cy="260755"/>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200" dirty="0"/>
          </a:p>
        </p:txBody>
      </p:sp>
      <p:grpSp>
        <p:nvGrpSpPr>
          <p:cNvPr id="60" name="Group 59"/>
          <p:cNvGrpSpPr/>
          <p:nvPr/>
        </p:nvGrpSpPr>
        <p:grpSpPr>
          <a:xfrm>
            <a:off x="5881512" y="2855784"/>
            <a:ext cx="329557" cy="273887"/>
            <a:chOff x="381148" y="5278411"/>
            <a:chExt cx="394412" cy="327786"/>
          </a:xfrm>
        </p:grpSpPr>
        <p:sp>
          <p:nvSpPr>
            <p:cNvPr id="61" name="Freeform 60"/>
            <p:cNvSpPr/>
            <p:nvPr/>
          </p:nvSpPr>
          <p:spPr>
            <a:xfrm>
              <a:off x="657514" y="5326422"/>
              <a:ext cx="70012" cy="70014"/>
            </a:xfrm>
            <a:custGeom>
              <a:avLst/>
              <a:gdLst>
                <a:gd name="connsiteX0" fmla="*/ 49692 w 99385"/>
                <a:gd name="connsiteY0" fmla="*/ 0 h 99387"/>
                <a:gd name="connsiteX1" fmla="*/ 99385 w 99385"/>
                <a:gd name="connsiteY1" fmla="*/ 49693 h 99387"/>
                <a:gd name="connsiteX2" fmla="*/ 49692 w 99385"/>
                <a:gd name="connsiteY2" fmla="*/ 99387 h 99387"/>
                <a:gd name="connsiteX3" fmla="*/ 0 w 99385"/>
                <a:gd name="connsiteY3" fmla="*/ 49693 h 99387"/>
                <a:gd name="connsiteX4" fmla="*/ 49692 w 99385"/>
                <a:gd name="connsiteY4" fmla="*/ 0 h 99387"/>
                <a:gd name="connsiteX5" fmla="*/ 49692 w 99385"/>
                <a:gd name="connsiteY5" fmla="*/ 18594 h 99387"/>
                <a:gd name="connsiteX6" fmla="*/ 18593 w 99385"/>
                <a:gd name="connsiteY6" fmla="*/ 49693 h 99387"/>
                <a:gd name="connsiteX7" fmla="*/ 49692 w 99385"/>
                <a:gd name="connsiteY7" fmla="*/ 80791 h 99387"/>
                <a:gd name="connsiteX8" fmla="*/ 80791 w 99385"/>
                <a:gd name="connsiteY8" fmla="*/ 49693 h 99387"/>
                <a:gd name="connsiteX9" fmla="*/ 49692 w 99385"/>
                <a:gd name="connsiteY9" fmla="*/ 18594 h 9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385" h="99387">
                  <a:moveTo>
                    <a:pt x="49692" y="0"/>
                  </a:moveTo>
                  <a:cubicBezTo>
                    <a:pt x="77137" y="0"/>
                    <a:pt x="99385" y="22249"/>
                    <a:pt x="99385" y="49693"/>
                  </a:cubicBezTo>
                  <a:cubicBezTo>
                    <a:pt x="99385" y="77138"/>
                    <a:pt x="77137" y="99387"/>
                    <a:pt x="49692" y="99387"/>
                  </a:cubicBezTo>
                  <a:cubicBezTo>
                    <a:pt x="22248" y="99387"/>
                    <a:pt x="0" y="77138"/>
                    <a:pt x="0" y="49693"/>
                  </a:cubicBezTo>
                  <a:cubicBezTo>
                    <a:pt x="0" y="22249"/>
                    <a:pt x="22248" y="0"/>
                    <a:pt x="49692" y="0"/>
                  </a:cubicBezTo>
                  <a:close/>
                  <a:moveTo>
                    <a:pt x="49692" y="18594"/>
                  </a:moveTo>
                  <a:cubicBezTo>
                    <a:pt x="32516" y="18594"/>
                    <a:pt x="18593" y="32518"/>
                    <a:pt x="18593" y="49693"/>
                  </a:cubicBezTo>
                  <a:cubicBezTo>
                    <a:pt x="18593" y="66868"/>
                    <a:pt x="32516" y="80791"/>
                    <a:pt x="49692" y="80791"/>
                  </a:cubicBezTo>
                  <a:cubicBezTo>
                    <a:pt x="66867" y="80791"/>
                    <a:pt x="80791" y="66868"/>
                    <a:pt x="80791" y="49693"/>
                  </a:cubicBezTo>
                  <a:cubicBezTo>
                    <a:pt x="80791" y="32518"/>
                    <a:pt x="66867" y="18594"/>
                    <a:pt x="49692" y="1859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3"/>
              <a:endParaRPr lang="en-US" sz="1200" dirty="0"/>
            </a:p>
          </p:txBody>
        </p:sp>
        <p:grpSp>
          <p:nvGrpSpPr>
            <p:cNvPr id="62" name="Group 61"/>
            <p:cNvGrpSpPr/>
            <p:nvPr/>
          </p:nvGrpSpPr>
          <p:grpSpPr>
            <a:xfrm>
              <a:off x="381148" y="5278411"/>
              <a:ext cx="394412" cy="327786"/>
              <a:chOff x="381148" y="5278411"/>
              <a:chExt cx="394412" cy="327786"/>
            </a:xfrm>
          </p:grpSpPr>
          <p:sp>
            <p:nvSpPr>
              <p:cNvPr id="67" name="Freeform 66"/>
              <p:cNvSpPr/>
              <p:nvPr/>
            </p:nvSpPr>
            <p:spPr>
              <a:xfrm>
                <a:off x="609479" y="5278411"/>
                <a:ext cx="166081" cy="166035"/>
              </a:xfrm>
              <a:custGeom>
                <a:avLst/>
                <a:gdLst>
                  <a:gd name="connsiteX0" fmla="*/ 148521 w 235757"/>
                  <a:gd name="connsiteY0" fmla="*/ 0 h 235692"/>
                  <a:gd name="connsiteX1" fmla="*/ 180978 w 235757"/>
                  <a:gd name="connsiteY1" fmla="*/ 13888 h 235692"/>
                  <a:gd name="connsiteX2" fmla="*/ 182774 w 235757"/>
                  <a:gd name="connsiteY2" fmla="*/ 54818 h 235692"/>
                  <a:gd name="connsiteX3" fmla="*/ 223396 w 235757"/>
                  <a:gd name="connsiteY3" fmla="*/ 57958 h 235692"/>
                  <a:gd name="connsiteX4" fmla="*/ 235468 w 235757"/>
                  <a:gd name="connsiteY4" fmla="*/ 87260 h 235692"/>
                  <a:gd name="connsiteX5" fmla="*/ 208347 w 235757"/>
                  <a:gd name="connsiteY5" fmla="*/ 117850 h 235692"/>
                  <a:gd name="connsiteX6" fmla="*/ 235757 w 235757"/>
                  <a:gd name="connsiteY6" fmla="*/ 148498 h 235692"/>
                  <a:gd name="connsiteX7" fmla="*/ 223635 w 235757"/>
                  <a:gd name="connsiteY7" fmla="*/ 178242 h 235692"/>
                  <a:gd name="connsiteX8" fmla="*/ 182622 w 235757"/>
                  <a:gd name="connsiteY8" fmla="*/ 181038 h 235692"/>
                  <a:gd name="connsiteX9" fmla="*/ 180629 w 235757"/>
                  <a:gd name="connsiteY9" fmla="*/ 221819 h 235692"/>
                  <a:gd name="connsiteX10" fmla="*/ 148468 w 235757"/>
                  <a:gd name="connsiteY10" fmla="*/ 235440 h 235692"/>
                  <a:gd name="connsiteX11" fmla="*/ 117878 w 235757"/>
                  <a:gd name="connsiteY11" fmla="*/ 208318 h 235692"/>
                  <a:gd name="connsiteX12" fmla="*/ 87237 w 235757"/>
                  <a:gd name="connsiteY12" fmla="*/ 235692 h 235692"/>
                  <a:gd name="connsiteX13" fmla="*/ 54827 w 235757"/>
                  <a:gd name="connsiteY13" fmla="*/ 221742 h 235692"/>
                  <a:gd name="connsiteX14" fmla="*/ 52983 w 235757"/>
                  <a:gd name="connsiteY14" fmla="*/ 180882 h 235692"/>
                  <a:gd name="connsiteX15" fmla="*/ 12295 w 235757"/>
                  <a:gd name="connsiteY15" fmla="*/ 177784 h 235692"/>
                  <a:gd name="connsiteX16" fmla="*/ 22 w 235757"/>
                  <a:gd name="connsiteY16" fmla="*/ 148493 h 235692"/>
                  <a:gd name="connsiteX17" fmla="*/ 27410 w 235757"/>
                  <a:gd name="connsiteY17" fmla="*/ 117850 h 235692"/>
                  <a:gd name="connsiteX18" fmla="*/ 0 w 235757"/>
                  <a:gd name="connsiteY18" fmla="*/ 87202 h 235692"/>
                  <a:gd name="connsiteX19" fmla="*/ 12121 w 235757"/>
                  <a:gd name="connsiteY19" fmla="*/ 57458 h 235692"/>
                  <a:gd name="connsiteX20" fmla="*/ 53135 w 235757"/>
                  <a:gd name="connsiteY20" fmla="*/ 54661 h 235692"/>
                  <a:gd name="connsiteX21" fmla="*/ 55128 w 235757"/>
                  <a:gd name="connsiteY21" fmla="*/ 13880 h 235692"/>
                  <a:gd name="connsiteX22" fmla="*/ 87289 w 235757"/>
                  <a:gd name="connsiteY22" fmla="*/ 259 h 235692"/>
                  <a:gd name="connsiteX23" fmla="*/ 117878 w 235757"/>
                  <a:gd name="connsiteY23" fmla="*/ 27382 h 235692"/>
                  <a:gd name="connsiteX24" fmla="*/ 148521 w 235757"/>
                  <a:gd name="connsiteY24" fmla="*/ 0 h 235692"/>
                  <a:gd name="connsiteX25" fmla="*/ 117878 w 235757"/>
                  <a:gd name="connsiteY25" fmla="*/ 49186 h 235692"/>
                  <a:gd name="connsiteX26" fmla="*/ 49218 w 235757"/>
                  <a:gd name="connsiteY26" fmla="*/ 117846 h 235692"/>
                  <a:gd name="connsiteX27" fmla="*/ 117878 w 235757"/>
                  <a:gd name="connsiteY27" fmla="*/ 186505 h 235692"/>
                  <a:gd name="connsiteX28" fmla="*/ 186537 w 235757"/>
                  <a:gd name="connsiteY28" fmla="*/ 117846 h 235692"/>
                  <a:gd name="connsiteX29" fmla="*/ 117878 w 235757"/>
                  <a:gd name="connsiteY29" fmla="*/ 49186 h 23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757" h="235692">
                    <a:moveTo>
                      <a:pt x="148521" y="0"/>
                    </a:moveTo>
                    <a:cubicBezTo>
                      <a:pt x="160170" y="2889"/>
                      <a:pt x="171076" y="7646"/>
                      <a:pt x="180978" y="13888"/>
                    </a:cubicBezTo>
                    <a:cubicBezTo>
                      <a:pt x="170994" y="25732"/>
                      <a:pt x="171685" y="43402"/>
                      <a:pt x="182774" y="54818"/>
                    </a:cubicBezTo>
                    <a:cubicBezTo>
                      <a:pt x="193794" y="66164"/>
                      <a:pt x="211284" y="67423"/>
                      <a:pt x="223396" y="57958"/>
                    </a:cubicBezTo>
                    <a:cubicBezTo>
                      <a:pt x="228878" y="66920"/>
                      <a:pt x="232854" y="76817"/>
                      <a:pt x="235468" y="87260"/>
                    </a:cubicBezTo>
                    <a:cubicBezTo>
                      <a:pt x="220105" y="88843"/>
                      <a:pt x="208347" y="101973"/>
                      <a:pt x="208347" y="117850"/>
                    </a:cubicBezTo>
                    <a:cubicBezTo>
                      <a:pt x="208347" y="133829"/>
                      <a:pt x="220257" y="147027"/>
                      <a:pt x="235757" y="148498"/>
                    </a:cubicBezTo>
                    <a:cubicBezTo>
                      <a:pt x="233148" y="159079"/>
                      <a:pt x="228998" y="169055"/>
                      <a:pt x="223635" y="178242"/>
                    </a:cubicBezTo>
                    <a:cubicBezTo>
                      <a:pt x="211516" y="168477"/>
                      <a:pt x="193780" y="169604"/>
                      <a:pt x="182622" y="181038"/>
                    </a:cubicBezTo>
                    <a:cubicBezTo>
                      <a:pt x="171549" y="192384"/>
                      <a:pt x="170779" y="209960"/>
                      <a:pt x="180629" y="221819"/>
                    </a:cubicBezTo>
                    <a:cubicBezTo>
                      <a:pt x="170853" y="228013"/>
                      <a:pt x="159992" y="232555"/>
                      <a:pt x="148468" y="235440"/>
                    </a:cubicBezTo>
                    <a:cubicBezTo>
                      <a:pt x="146886" y="220077"/>
                      <a:pt x="133756" y="208318"/>
                      <a:pt x="117878" y="208318"/>
                    </a:cubicBezTo>
                    <a:cubicBezTo>
                      <a:pt x="101911" y="208318"/>
                      <a:pt x="88722" y="220209"/>
                      <a:pt x="87237" y="235692"/>
                    </a:cubicBezTo>
                    <a:cubicBezTo>
                      <a:pt x="75601" y="232796"/>
                      <a:pt x="64709" y="228022"/>
                      <a:pt x="54827" y="221742"/>
                    </a:cubicBezTo>
                    <a:cubicBezTo>
                      <a:pt x="64760" y="209902"/>
                      <a:pt x="64051" y="192277"/>
                      <a:pt x="52983" y="180882"/>
                    </a:cubicBezTo>
                    <a:cubicBezTo>
                      <a:pt x="41943" y="169516"/>
                      <a:pt x="24412" y="168272"/>
                      <a:pt x="12295" y="177784"/>
                    </a:cubicBezTo>
                    <a:cubicBezTo>
                      <a:pt x="6839" y="168767"/>
                      <a:pt x="2663" y="158935"/>
                      <a:pt x="22" y="148493"/>
                    </a:cubicBezTo>
                    <a:cubicBezTo>
                      <a:pt x="15511" y="147014"/>
                      <a:pt x="27410" y="133821"/>
                      <a:pt x="27410" y="117850"/>
                    </a:cubicBezTo>
                    <a:cubicBezTo>
                      <a:pt x="27410" y="101870"/>
                      <a:pt x="15500" y="88673"/>
                      <a:pt x="0" y="87202"/>
                    </a:cubicBezTo>
                    <a:cubicBezTo>
                      <a:pt x="2608" y="76621"/>
                      <a:pt x="6759" y="66646"/>
                      <a:pt x="12121" y="57458"/>
                    </a:cubicBezTo>
                    <a:cubicBezTo>
                      <a:pt x="24240" y="67224"/>
                      <a:pt x="41977" y="66095"/>
                      <a:pt x="53135" y="54661"/>
                    </a:cubicBezTo>
                    <a:cubicBezTo>
                      <a:pt x="64208" y="43316"/>
                      <a:pt x="64978" y="25740"/>
                      <a:pt x="55128" y="13880"/>
                    </a:cubicBezTo>
                    <a:cubicBezTo>
                      <a:pt x="64904" y="7687"/>
                      <a:pt x="75764" y="3145"/>
                      <a:pt x="87289" y="259"/>
                    </a:cubicBezTo>
                    <a:cubicBezTo>
                      <a:pt x="88871" y="15623"/>
                      <a:pt x="102001" y="27382"/>
                      <a:pt x="117878" y="27382"/>
                    </a:cubicBezTo>
                    <a:cubicBezTo>
                      <a:pt x="133848" y="27382"/>
                      <a:pt x="147039" y="15487"/>
                      <a:pt x="148521" y="0"/>
                    </a:cubicBezTo>
                    <a:close/>
                    <a:moveTo>
                      <a:pt x="117878" y="49186"/>
                    </a:moveTo>
                    <a:cubicBezTo>
                      <a:pt x="79959" y="49186"/>
                      <a:pt x="49218" y="79927"/>
                      <a:pt x="49218" y="117846"/>
                    </a:cubicBezTo>
                    <a:cubicBezTo>
                      <a:pt x="49218" y="155766"/>
                      <a:pt x="79959" y="186505"/>
                      <a:pt x="117878" y="186505"/>
                    </a:cubicBezTo>
                    <a:cubicBezTo>
                      <a:pt x="155798" y="186505"/>
                      <a:pt x="186537" y="155766"/>
                      <a:pt x="186537" y="117846"/>
                    </a:cubicBezTo>
                    <a:cubicBezTo>
                      <a:pt x="186537" y="79927"/>
                      <a:pt x="155798" y="49186"/>
                      <a:pt x="117878" y="4918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3"/>
                <a:endParaRPr lang="en-US" sz="1200" dirty="0"/>
              </a:p>
            </p:txBody>
          </p:sp>
          <p:grpSp>
            <p:nvGrpSpPr>
              <p:cNvPr id="68" name="Group 67"/>
              <p:cNvGrpSpPr/>
              <p:nvPr/>
            </p:nvGrpSpPr>
            <p:grpSpPr>
              <a:xfrm>
                <a:off x="381148" y="5296755"/>
                <a:ext cx="223864" cy="223802"/>
                <a:chOff x="381148" y="5296755"/>
                <a:chExt cx="223864" cy="223802"/>
              </a:xfrm>
            </p:grpSpPr>
            <p:sp>
              <p:nvSpPr>
                <p:cNvPr id="72" name="Freeform 71"/>
                <p:cNvSpPr/>
                <p:nvPr/>
              </p:nvSpPr>
              <p:spPr>
                <a:xfrm>
                  <a:off x="381148" y="5296755"/>
                  <a:ext cx="223864" cy="223802"/>
                </a:xfrm>
                <a:custGeom>
                  <a:avLst/>
                  <a:gdLst>
                    <a:gd name="connsiteX0" fmla="*/ 200194 w 317782"/>
                    <a:gd name="connsiteY0" fmla="*/ 0 h 317695"/>
                    <a:gd name="connsiteX1" fmla="*/ 243944 w 317782"/>
                    <a:gd name="connsiteY1" fmla="*/ 18720 h 317695"/>
                    <a:gd name="connsiteX2" fmla="*/ 246364 w 317782"/>
                    <a:gd name="connsiteY2" fmla="*/ 73890 h 317695"/>
                    <a:gd name="connsiteX3" fmla="*/ 301121 w 317782"/>
                    <a:gd name="connsiteY3" fmla="*/ 78123 h 317695"/>
                    <a:gd name="connsiteX4" fmla="*/ 317393 w 317782"/>
                    <a:gd name="connsiteY4" fmla="*/ 117619 h 317695"/>
                    <a:gd name="connsiteX5" fmla="*/ 280835 w 317782"/>
                    <a:gd name="connsiteY5" fmla="*/ 158853 h 317695"/>
                    <a:gd name="connsiteX6" fmla="*/ 317782 w 317782"/>
                    <a:gd name="connsiteY6" fmla="*/ 200164 h 317695"/>
                    <a:gd name="connsiteX7" fmla="*/ 301443 w 317782"/>
                    <a:gd name="connsiteY7" fmla="*/ 240258 h 317695"/>
                    <a:gd name="connsiteX8" fmla="*/ 246160 w 317782"/>
                    <a:gd name="connsiteY8" fmla="*/ 244024 h 317695"/>
                    <a:gd name="connsiteX9" fmla="*/ 243475 w 317782"/>
                    <a:gd name="connsiteY9" fmla="*/ 298995 h 317695"/>
                    <a:gd name="connsiteX10" fmla="*/ 200123 w 317782"/>
                    <a:gd name="connsiteY10" fmla="*/ 317356 h 317695"/>
                    <a:gd name="connsiteX11" fmla="*/ 158891 w 317782"/>
                    <a:gd name="connsiteY11" fmla="*/ 280796 h 317695"/>
                    <a:gd name="connsiteX12" fmla="*/ 117589 w 317782"/>
                    <a:gd name="connsiteY12" fmla="*/ 317695 h 317695"/>
                    <a:gd name="connsiteX13" fmla="*/ 73902 w 317782"/>
                    <a:gd name="connsiteY13" fmla="*/ 298891 h 317695"/>
                    <a:gd name="connsiteX14" fmla="*/ 71417 w 317782"/>
                    <a:gd name="connsiteY14" fmla="*/ 243816 h 317695"/>
                    <a:gd name="connsiteX15" fmla="*/ 16571 w 317782"/>
                    <a:gd name="connsiteY15" fmla="*/ 239640 h 317695"/>
                    <a:gd name="connsiteX16" fmla="*/ 28 w 317782"/>
                    <a:gd name="connsiteY16" fmla="*/ 200158 h 317695"/>
                    <a:gd name="connsiteX17" fmla="*/ 36947 w 317782"/>
                    <a:gd name="connsiteY17" fmla="*/ 158853 h 317695"/>
                    <a:gd name="connsiteX18" fmla="*/ 0 w 317782"/>
                    <a:gd name="connsiteY18" fmla="*/ 117542 h 317695"/>
                    <a:gd name="connsiteX19" fmla="*/ 16338 w 317782"/>
                    <a:gd name="connsiteY19" fmla="*/ 77447 h 317695"/>
                    <a:gd name="connsiteX20" fmla="*/ 71620 w 317782"/>
                    <a:gd name="connsiteY20" fmla="*/ 73680 h 317695"/>
                    <a:gd name="connsiteX21" fmla="*/ 74307 w 317782"/>
                    <a:gd name="connsiteY21" fmla="*/ 18711 h 317695"/>
                    <a:gd name="connsiteX22" fmla="*/ 117657 w 317782"/>
                    <a:gd name="connsiteY22" fmla="*/ 351 h 317695"/>
                    <a:gd name="connsiteX23" fmla="*/ 158891 w 317782"/>
                    <a:gd name="connsiteY23" fmla="*/ 36909 h 317695"/>
                    <a:gd name="connsiteX24" fmla="*/ 200194 w 317782"/>
                    <a:gd name="connsiteY24" fmla="*/ 0 h 317695"/>
                    <a:gd name="connsiteX25" fmla="*/ 158891 w 317782"/>
                    <a:gd name="connsiteY25" fmla="*/ 66300 h 317695"/>
                    <a:gd name="connsiteX26" fmla="*/ 66342 w 317782"/>
                    <a:gd name="connsiteY26" fmla="*/ 158848 h 317695"/>
                    <a:gd name="connsiteX27" fmla="*/ 158891 w 317782"/>
                    <a:gd name="connsiteY27" fmla="*/ 251395 h 317695"/>
                    <a:gd name="connsiteX28" fmla="*/ 251438 w 317782"/>
                    <a:gd name="connsiteY28" fmla="*/ 158848 h 317695"/>
                    <a:gd name="connsiteX29" fmla="*/ 158891 w 317782"/>
                    <a:gd name="connsiteY29" fmla="*/ 66300 h 31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7782" h="317695">
                      <a:moveTo>
                        <a:pt x="200194" y="0"/>
                      </a:moveTo>
                      <a:cubicBezTo>
                        <a:pt x="215896" y="3892"/>
                        <a:pt x="230597" y="10307"/>
                        <a:pt x="243944" y="18720"/>
                      </a:cubicBezTo>
                      <a:cubicBezTo>
                        <a:pt x="230487" y="34686"/>
                        <a:pt x="231418" y="58502"/>
                        <a:pt x="246364" y="73890"/>
                      </a:cubicBezTo>
                      <a:cubicBezTo>
                        <a:pt x="261218" y="89183"/>
                        <a:pt x="284795" y="90882"/>
                        <a:pt x="301121" y="78123"/>
                      </a:cubicBezTo>
                      <a:cubicBezTo>
                        <a:pt x="308511" y="90203"/>
                        <a:pt x="313870" y="103544"/>
                        <a:pt x="317393" y="117619"/>
                      </a:cubicBezTo>
                      <a:cubicBezTo>
                        <a:pt x="296684" y="119752"/>
                        <a:pt x="280835" y="137452"/>
                        <a:pt x="280835" y="158853"/>
                      </a:cubicBezTo>
                      <a:cubicBezTo>
                        <a:pt x="280835" y="180392"/>
                        <a:pt x="296890" y="198180"/>
                        <a:pt x="317782" y="200164"/>
                      </a:cubicBezTo>
                      <a:cubicBezTo>
                        <a:pt x="314265" y="214426"/>
                        <a:pt x="308671" y="227872"/>
                        <a:pt x="301443" y="240258"/>
                      </a:cubicBezTo>
                      <a:cubicBezTo>
                        <a:pt x="285108" y="227094"/>
                        <a:pt x="261200" y="228614"/>
                        <a:pt x="246160" y="244024"/>
                      </a:cubicBezTo>
                      <a:cubicBezTo>
                        <a:pt x="231234" y="259319"/>
                        <a:pt x="230196" y="283009"/>
                        <a:pt x="243475" y="298995"/>
                      </a:cubicBezTo>
                      <a:cubicBezTo>
                        <a:pt x="230296" y="307344"/>
                        <a:pt x="215658" y="313466"/>
                        <a:pt x="200123" y="317356"/>
                      </a:cubicBezTo>
                      <a:cubicBezTo>
                        <a:pt x="197991" y="296646"/>
                        <a:pt x="180292" y="280796"/>
                        <a:pt x="158891" y="280796"/>
                      </a:cubicBezTo>
                      <a:cubicBezTo>
                        <a:pt x="137368" y="280796"/>
                        <a:pt x="119591" y="296826"/>
                        <a:pt x="117589" y="317695"/>
                      </a:cubicBezTo>
                      <a:cubicBezTo>
                        <a:pt x="101903" y="313791"/>
                        <a:pt x="87223" y="307356"/>
                        <a:pt x="73902" y="298891"/>
                      </a:cubicBezTo>
                      <a:cubicBezTo>
                        <a:pt x="87290" y="282930"/>
                        <a:pt x="86335" y="259175"/>
                        <a:pt x="71417" y="243816"/>
                      </a:cubicBezTo>
                      <a:cubicBezTo>
                        <a:pt x="56536" y="228496"/>
                        <a:pt x="32905" y="226818"/>
                        <a:pt x="16571" y="239640"/>
                      </a:cubicBezTo>
                      <a:cubicBezTo>
                        <a:pt x="9219" y="227484"/>
                        <a:pt x="3589" y="214233"/>
                        <a:pt x="28" y="200158"/>
                      </a:cubicBezTo>
                      <a:cubicBezTo>
                        <a:pt x="20907" y="198163"/>
                        <a:pt x="36947" y="180381"/>
                        <a:pt x="36947" y="158853"/>
                      </a:cubicBezTo>
                      <a:cubicBezTo>
                        <a:pt x="36947" y="137314"/>
                        <a:pt x="20892" y="119524"/>
                        <a:pt x="0" y="117542"/>
                      </a:cubicBezTo>
                      <a:cubicBezTo>
                        <a:pt x="3516" y="103278"/>
                        <a:pt x="9110" y="89833"/>
                        <a:pt x="16338" y="77447"/>
                      </a:cubicBezTo>
                      <a:cubicBezTo>
                        <a:pt x="32674" y="90612"/>
                        <a:pt x="56580" y="89091"/>
                        <a:pt x="71620" y="73680"/>
                      </a:cubicBezTo>
                      <a:cubicBezTo>
                        <a:pt x="86546" y="58386"/>
                        <a:pt x="87584" y="34697"/>
                        <a:pt x="74307" y="18711"/>
                      </a:cubicBezTo>
                      <a:cubicBezTo>
                        <a:pt x="87484" y="10363"/>
                        <a:pt x="102122" y="4240"/>
                        <a:pt x="117657" y="351"/>
                      </a:cubicBezTo>
                      <a:cubicBezTo>
                        <a:pt x="119790" y="21060"/>
                        <a:pt x="137489" y="36909"/>
                        <a:pt x="158891" y="36909"/>
                      </a:cubicBezTo>
                      <a:cubicBezTo>
                        <a:pt x="180417" y="36909"/>
                        <a:pt x="198196" y="20875"/>
                        <a:pt x="200194" y="0"/>
                      </a:cubicBezTo>
                      <a:close/>
                      <a:moveTo>
                        <a:pt x="158891" y="66300"/>
                      </a:moveTo>
                      <a:cubicBezTo>
                        <a:pt x="107778" y="66300"/>
                        <a:pt x="66342" y="107735"/>
                        <a:pt x="66342" y="158848"/>
                      </a:cubicBezTo>
                      <a:cubicBezTo>
                        <a:pt x="66342" y="209960"/>
                        <a:pt x="107778" y="251395"/>
                        <a:pt x="158891" y="251395"/>
                      </a:cubicBezTo>
                      <a:cubicBezTo>
                        <a:pt x="210003" y="251395"/>
                        <a:pt x="251438" y="209960"/>
                        <a:pt x="251438" y="158848"/>
                      </a:cubicBezTo>
                      <a:cubicBezTo>
                        <a:pt x="251438" y="107735"/>
                        <a:pt x="210003" y="66300"/>
                        <a:pt x="158891" y="6630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3"/>
                  <a:endParaRPr lang="en-US" sz="1200" dirty="0"/>
                </a:p>
              </p:txBody>
            </p:sp>
            <p:sp>
              <p:nvSpPr>
                <p:cNvPr id="73" name="Freeform 72"/>
                <p:cNvSpPr/>
                <p:nvPr/>
              </p:nvSpPr>
              <p:spPr>
                <a:xfrm>
                  <a:off x="445893" y="5361470"/>
                  <a:ext cx="94372" cy="94372"/>
                </a:xfrm>
                <a:custGeom>
                  <a:avLst/>
                  <a:gdLst>
                    <a:gd name="connsiteX0" fmla="*/ 66983 w 133965"/>
                    <a:gd name="connsiteY0" fmla="*/ 0 h 133965"/>
                    <a:gd name="connsiteX1" fmla="*/ 133965 w 133965"/>
                    <a:gd name="connsiteY1" fmla="*/ 66983 h 133965"/>
                    <a:gd name="connsiteX2" fmla="*/ 66983 w 133965"/>
                    <a:gd name="connsiteY2" fmla="*/ 133965 h 133965"/>
                    <a:gd name="connsiteX3" fmla="*/ 0 w 133965"/>
                    <a:gd name="connsiteY3" fmla="*/ 66983 h 133965"/>
                    <a:gd name="connsiteX4" fmla="*/ 66983 w 133965"/>
                    <a:gd name="connsiteY4" fmla="*/ 0 h 133965"/>
                    <a:gd name="connsiteX5" fmla="*/ 66983 w 133965"/>
                    <a:gd name="connsiteY5" fmla="*/ 25064 h 133965"/>
                    <a:gd name="connsiteX6" fmla="*/ 25064 w 133965"/>
                    <a:gd name="connsiteY6" fmla="*/ 66983 h 133965"/>
                    <a:gd name="connsiteX7" fmla="*/ 66983 w 133965"/>
                    <a:gd name="connsiteY7" fmla="*/ 108902 h 133965"/>
                    <a:gd name="connsiteX8" fmla="*/ 108902 w 133965"/>
                    <a:gd name="connsiteY8" fmla="*/ 66983 h 133965"/>
                    <a:gd name="connsiteX9" fmla="*/ 66983 w 133965"/>
                    <a:gd name="connsiteY9" fmla="*/ 25064 h 133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965" h="133965">
                      <a:moveTo>
                        <a:pt x="66983" y="0"/>
                      </a:moveTo>
                      <a:cubicBezTo>
                        <a:pt x="103976" y="0"/>
                        <a:pt x="133965" y="29989"/>
                        <a:pt x="133965" y="66983"/>
                      </a:cubicBezTo>
                      <a:cubicBezTo>
                        <a:pt x="133965" y="103976"/>
                        <a:pt x="103976" y="133965"/>
                        <a:pt x="66983" y="133965"/>
                      </a:cubicBezTo>
                      <a:cubicBezTo>
                        <a:pt x="29988" y="133965"/>
                        <a:pt x="0" y="103976"/>
                        <a:pt x="0" y="66983"/>
                      </a:cubicBezTo>
                      <a:cubicBezTo>
                        <a:pt x="0" y="29989"/>
                        <a:pt x="29988" y="0"/>
                        <a:pt x="66983" y="0"/>
                      </a:cubicBezTo>
                      <a:close/>
                      <a:moveTo>
                        <a:pt x="66983" y="25064"/>
                      </a:moveTo>
                      <a:cubicBezTo>
                        <a:pt x="43832" y="25064"/>
                        <a:pt x="25064" y="43832"/>
                        <a:pt x="25064" y="66983"/>
                      </a:cubicBezTo>
                      <a:cubicBezTo>
                        <a:pt x="25064" y="90133"/>
                        <a:pt x="43832" y="108902"/>
                        <a:pt x="66983" y="108902"/>
                      </a:cubicBezTo>
                      <a:cubicBezTo>
                        <a:pt x="90134" y="108902"/>
                        <a:pt x="108902" y="90133"/>
                        <a:pt x="108902" y="66983"/>
                      </a:cubicBezTo>
                      <a:cubicBezTo>
                        <a:pt x="108902" y="43832"/>
                        <a:pt x="90134" y="25064"/>
                        <a:pt x="66983" y="2506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3"/>
                  <a:endParaRPr lang="en-US" sz="1200" dirty="0"/>
                </a:p>
              </p:txBody>
            </p:sp>
          </p:grpSp>
          <p:grpSp>
            <p:nvGrpSpPr>
              <p:cNvPr id="69" name="Group 68"/>
              <p:cNvGrpSpPr/>
              <p:nvPr/>
            </p:nvGrpSpPr>
            <p:grpSpPr>
              <a:xfrm>
                <a:off x="546453" y="5484351"/>
                <a:ext cx="121880" cy="121846"/>
                <a:chOff x="381148" y="5296755"/>
                <a:chExt cx="223864" cy="223802"/>
              </a:xfrm>
            </p:grpSpPr>
            <p:sp>
              <p:nvSpPr>
                <p:cNvPr id="70" name="Freeform 69"/>
                <p:cNvSpPr/>
                <p:nvPr/>
              </p:nvSpPr>
              <p:spPr>
                <a:xfrm>
                  <a:off x="381148" y="5296755"/>
                  <a:ext cx="223864" cy="223802"/>
                </a:xfrm>
                <a:custGeom>
                  <a:avLst/>
                  <a:gdLst>
                    <a:gd name="connsiteX0" fmla="*/ 200194 w 317782"/>
                    <a:gd name="connsiteY0" fmla="*/ 0 h 317695"/>
                    <a:gd name="connsiteX1" fmla="*/ 243944 w 317782"/>
                    <a:gd name="connsiteY1" fmla="*/ 18720 h 317695"/>
                    <a:gd name="connsiteX2" fmla="*/ 246364 w 317782"/>
                    <a:gd name="connsiteY2" fmla="*/ 73890 h 317695"/>
                    <a:gd name="connsiteX3" fmla="*/ 301121 w 317782"/>
                    <a:gd name="connsiteY3" fmla="*/ 78123 h 317695"/>
                    <a:gd name="connsiteX4" fmla="*/ 317393 w 317782"/>
                    <a:gd name="connsiteY4" fmla="*/ 117619 h 317695"/>
                    <a:gd name="connsiteX5" fmla="*/ 280835 w 317782"/>
                    <a:gd name="connsiteY5" fmla="*/ 158853 h 317695"/>
                    <a:gd name="connsiteX6" fmla="*/ 317782 w 317782"/>
                    <a:gd name="connsiteY6" fmla="*/ 200164 h 317695"/>
                    <a:gd name="connsiteX7" fmla="*/ 301443 w 317782"/>
                    <a:gd name="connsiteY7" fmla="*/ 240258 h 317695"/>
                    <a:gd name="connsiteX8" fmla="*/ 246160 w 317782"/>
                    <a:gd name="connsiteY8" fmla="*/ 244024 h 317695"/>
                    <a:gd name="connsiteX9" fmla="*/ 243475 w 317782"/>
                    <a:gd name="connsiteY9" fmla="*/ 298995 h 317695"/>
                    <a:gd name="connsiteX10" fmla="*/ 200123 w 317782"/>
                    <a:gd name="connsiteY10" fmla="*/ 317356 h 317695"/>
                    <a:gd name="connsiteX11" fmla="*/ 158891 w 317782"/>
                    <a:gd name="connsiteY11" fmla="*/ 280796 h 317695"/>
                    <a:gd name="connsiteX12" fmla="*/ 117589 w 317782"/>
                    <a:gd name="connsiteY12" fmla="*/ 317695 h 317695"/>
                    <a:gd name="connsiteX13" fmla="*/ 73902 w 317782"/>
                    <a:gd name="connsiteY13" fmla="*/ 298891 h 317695"/>
                    <a:gd name="connsiteX14" fmla="*/ 71417 w 317782"/>
                    <a:gd name="connsiteY14" fmla="*/ 243816 h 317695"/>
                    <a:gd name="connsiteX15" fmla="*/ 16571 w 317782"/>
                    <a:gd name="connsiteY15" fmla="*/ 239640 h 317695"/>
                    <a:gd name="connsiteX16" fmla="*/ 28 w 317782"/>
                    <a:gd name="connsiteY16" fmla="*/ 200158 h 317695"/>
                    <a:gd name="connsiteX17" fmla="*/ 36947 w 317782"/>
                    <a:gd name="connsiteY17" fmla="*/ 158853 h 317695"/>
                    <a:gd name="connsiteX18" fmla="*/ 0 w 317782"/>
                    <a:gd name="connsiteY18" fmla="*/ 117542 h 317695"/>
                    <a:gd name="connsiteX19" fmla="*/ 16338 w 317782"/>
                    <a:gd name="connsiteY19" fmla="*/ 77447 h 317695"/>
                    <a:gd name="connsiteX20" fmla="*/ 71620 w 317782"/>
                    <a:gd name="connsiteY20" fmla="*/ 73680 h 317695"/>
                    <a:gd name="connsiteX21" fmla="*/ 74307 w 317782"/>
                    <a:gd name="connsiteY21" fmla="*/ 18711 h 317695"/>
                    <a:gd name="connsiteX22" fmla="*/ 117657 w 317782"/>
                    <a:gd name="connsiteY22" fmla="*/ 351 h 317695"/>
                    <a:gd name="connsiteX23" fmla="*/ 158891 w 317782"/>
                    <a:gd name="connsiteY23" fmla="*/ 36909 h 317695"/>
                    <a:gd name="connsiteX24" fmla="*/ 200194 w 317782"/>
                    <a:gd name="connsiteY24" fmla="*/ 0 h 317695"/>
                    <a:gd name="connsiteX25" fmla="*/ 158891 w 317782"/>
                    <a:gd name="connsiteY25" fmla="*/ 66300 h 317695"/>
                    <a:gd name="connsiteX26" fmla="*/ 66342 w 317782"/>
                    <a:gd name="connsiteY26" fmla="*/ 158848 h 317695"/>
                    <a:gd name="connsiteX27" fmla="*/ 158891 w 317782"/>
                    <a:gd name="connsiteY27" fmla="*/ 251395 h 317695"/>
                    <a:gd name="connsiteX28" fmla="*/ 251438 w 317782"/>
                    <a:gd name="connsiteY28" fmla="*/ 158848 h 317695"/>
                    <a:gd name="connsiteX29" fmla="*/ 158891 w 317782"/>
                    <a:gd name="connsiteY29" fmla="*/ 66300 h 31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7782" h="317695">
                      <a:moveTo>
                        <a:pt x="200194" y="0"/>
                      </a:moveTo>
                      <a:cubicBezTo>
                        <a:pt x="215896" y="3892"/>
                        <a:pt x="230597" y="10307"/>
                        <a:pt x="243944" y="18720"/>
                      </a:cubicBezTo>
                      <a:cubicBezTo>
                        <a:pt x="230487" y="34686"/>
                        <a:pt x="231418" y="58502"/>
                        <a:pt x="246364" y="73890"/>
                      </a:cubicBezTo>
                      <a:cubicBezTo>
                        <a:pt x="261218" y="89183"/>
                        <a:pt x="284795" y="90882"/>
                        <a:pt x="301121" y="78123"/>
                      </a:cubicBezTo>
                      <a:cubicBezTo>
                        <a:pt x="308511" y="90203"/>
                        <a:pt x="313870" y="103544"/>
                        <a:pt x="317393" y="117619"/>
                      </a:cubicBezTo>
                      <a:cubicBezTo>
                        <a:pt x="296684" y="119752"/>
                        <a:pt x="280835" y="137452"/>
                        <a:pt x="280835" y="158853"/>
                      </a:cubicBezTo>
                      <a:cubicBezTo>
                        <a:pt x="280835" y="180392"/>
                        <a:pt x="296890" y="198180"/>
                        <a:pt x="317782" y="200164"/>
                      </a:cubicBezTo>
                      <a:cubicBezTo>
                        <a:pt x="314265" y="214426"/>
                        <a:pt x="308671" y="227872"/>
                        <a:pt x="301443" y="240258"/>
                      </a:cubicBezTo>
                      <a:cubicBezTo>
                        <a:pt x="285108" y="227094"/>
                        <a:pt x="261200" y="228614"/>
                        <a:pt x="246160" y="244024"/>
                      </a:cubicBezTo>
                      <a:cubicBezTo>
                        <a:pt x="231234" y="259319"/>
                        <a:pt x="230196" y="283009"/>
                        <a:pt x="243475" y="298995"/>
                      </a:cubicBezTo>
                      <a:cubicBezTo>
                        <a:pt x="230296" y="307344"/>
                        <a:pt x="215658" y="313466"/>
                        <a:pt x="200123" y="317356"/>
                      </a:cubicBezTo>
                      <a:cubicBezTo>
                        <a:pt x="197991" y="296646"/>
                        <a:pt x="180292" y="280796"/>
                        <a:pt x="158891" y="280796"/>
                      </a:cubicBezTo>
                      <a:cubicBezTo>
                        <a:pt x="137368" y="280796"/>
                        <a:pt x="119591" y="296826"/>
                        <a:pt x="117589" y="317695"/>
                      </a:cubicBezTo>
                      <a:cubicBezTo>
                        <a:pt x="101903" y="313791"/>
                        <a:pt x="87223" y="307356"/>
                        <a:pt x="73902" y="298891"/>
                      </a:cubicBezTo>
                      <a:cubicBezTo>
                        <a:pt x="87290" y="282930"/>
                        <a:pt x="86335" y="259175"/>
                        <a:pt x="71417" y="243816"/>
                      </a:cubicBezTo>
                      <a:cubicBezTo>
                        <a:pt x="56536" y="228496"/>
                        <a:pt x="32905" y="226818"/>
                        <a:pt x="16571" y="239640"/>
                      </a:cubicBezTo>
                      <a:cubicBezTo>
                        <a:pt x="9219" y="227484"/>
                        <a:pt x="3589" y="214233"/>
                        <a:pt x="28" y="200158"/>
                      </a:cubicBezTo>
                      <a:cubicBezTo>
                        <a:pt x="20907" y="198163"/>
                        <a:pt x="36947" y="180381"/>
                        <a:pt x="36947" y="158853"/>
                      </a:cubicBezTo>
                      <a:cubicBezTo>
                        <a:pt x="36947" y="137314"/>
                        <a:pt x="20892" y="119524"/>
                        <a:pt x="0" y="117542"/>
                      </a:cubicBezTo>
                      <a:cubicBezTo>
                        <a:pt x="3516" y="103278"/>
                        <a:pt x="9110" y="89833"/>
                        <a:pt x="16338" y="77447"/>
                      </a:cubicBezTo>
                      <a:cubicBezTo>
                        <a:pt x="32674" y="90612"/>
                        <a:pt x="56580" y="89091"/>
                        <a:pt x="71620" y="73680"/>
                      </a:cubicBezTo>
                      <a:cubicBezTo>
                        <a:pt x="86546" y="58386"/>
                        <a:pt x="87584" y="34697"/>
                        <a:pt x="74307" y="18711"/>
                      </a:cubicBezTo>
                      <a:cubicBezTo>
                        <a:pt x="87484" y="10363"/>
                        <a:pt x="102122" y="4240"/>
                        <a:pt x="117657" y="351"/>
                      </a:cubicBezTo>
                      <a:cubicBezTo>
                        <a:pt x="119790" y="21060"/>
                        <a:pt x="137489" y="36909"/>
                        <a:pt x="158891" y="36909"/>
                      </a:cubicBezTo>
                      <a:cubicBezTo>
                        <a:pt x="180417" y="36909"/>
                        <a:pt x="198196" y="20875"/>
                        <a:pt x="200194" y="0"/>
                      </a:cubicBezTo>
                      <a:close/>
                      <a:moveTo>
                        <a:pt x="158891" y="66300"/>
                      </a:moveTo>
                      <a:cubicBezTo>
                        <a:pt x="107778" y="66300"/>
                        <a:pt x="66342" y="107735"/>
                        <a:pt x="66342" y="158848"/>
                      </a:cubicBezTo>
                      <a:cubicBezTo>
                        <a:pt x="66342" y="209960"/>
                        <a:pt x="107778" y="251395"/>
                        <a:pt x="158891" y="251395"/>
                      </a:cubicBezTo>
                      <a:cubicBezTo>
                        <a:pt x="210003" y="251395"/>
                        <a:pt x="251438" y="209960"/>
                        <a:pt x="251438" y="158848"/>
                      </a:cubicBezTo>
                      <a:cubicBezTo>
                        <a:pt x="251438" y="107735"/>
                        <a:pt x="210003" y="66300"/>
                        <a:pt x="158891" y="6630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3"/>
                  <a:endParaRPr lang="en-US" sz="1200" dirty="0"/>
                </a:p>
              </p:txBody>
            </p:sp>
            <p:sp>
              <p:nvSpPr>
                <p:cNvPr id="71" name="Freeform 70"/>
                <p:cNvSpPr/>
                <p:nvPr/>
              </p:nvSpPr>
              <p:spPr>
                <a:xfrm>
                  <a:off x="445893" y="5361470"/>
                  <a:ext cx="94372" cy="94372"/>
                </a:xfrm>
                <a:custGeom>
                  <a:avLst/>
                  <a:gdLst>
                    <a:gd name="connsiteX0" fmla="*/ 66983 w 133965"/>
                    <a:gd name="connsiteY0" fmla="*/ 0 h 133965"/>
                    <a:gd name="connsiteX1" fmla="*/ 133965 w 133965"/>
                    <a:gd name="connsiteY1" fmla="*/ 66983 h 133965"/>
                    <a:gd name="connsiteX2" fmla="*/ 66983 w 133965"/>
                    <a:gd name="connsiteY2" fmla="*/ 133965 h 133965"/>
                    <a:gd name="connsiteX3" fmla="*/ 0 w 133965"/>
                    <a:gd name="connsiteY3" fmla="*/ 66983 h 133965"/>
                    <a:gd name="connsiteX4" fmla="*/ 66983 w 133965"/>
                    <a:gd name="connsiteY4" fmla="*/ 0 h 133965"/>
                    <a:gd name="connsiteX5" fmla="*/ 66983 w 133965"/>
                    <a:gd name="connsiteY5" fmla="*/ 25064 h 133965"/>
                    <a:gd name="connsiteX6" fmla="*/ 25064 w 133965"/>
                    <a:gd name="connsiteY6" fmla="*/ 66983 h 133965"/>
                    <a:gd name="connsiteX7" fmla="*/ 66983 w 133965"/>
                    <a:gd name="connsiteY7" fmla="*/ 108902 h 133965"/>
                    <a:gd name="connsiteX8" fmla="*/ 108902 w 133965"/>
                    <a:gd name="connsiteY8" fmla="*/ 66983 h 133965"/>
                    <a:gd name="connsiteX9" fmla="*/ 66983 w 133965"/>
                    <a:gd name="connsiteY9" fmla="*/ 25064 h 133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965" h="133965">
                      <a:moveTo>
                        <a:pt x="66983" y="0"/>
                      </a:moveTo>
                      <a:cubicBezTo>
                        <a:pt x="103976" y="0"/>
                        <a:pt x="133965" y="29989"/>
                        <a:pt x="133965" y="66983"/>
                      </a:cubicBezTo>
                      <a:cubicBezTo>
                        <a:pt x="133965" y="103976"/>
                        <a:pt x="103976" y="133965"/>
                        <a:pt x="66983" y="133965"/>
                      </a:cubicBezTo>
                      <a:cubicBezTo>
                        <a:pt x="29988" y="133965"/>
                        <a:pt x="0" y="103976"/>
                        <a:pt x="0" y="66983"/>
                      </a:cubicBezTo>
                      <a:cubicBezTo>
                        <a:pt x="0" y="29989"/>
                        <a:pt x="29988" y="0"/>
                        <a:pt x="66983" y="0"/>
                      </a:cubicBezTo>
                      <a:close/>
                      <a:moveTo>
                        <a:pt x="66983" y="25064"/>
                      </a:moveTo>
                      <a:cubicBezTo>
                        <a:pt x="43832" y="25064"/>
                        <a:pt x="25064" y="43832"/>
                        <a:pt x="25064" y="66983"/>
                      </a:cubicBezTo>
                      <a:cubicBezTo>
                        <a:pt x="25064" y="90133"/>
                        <a:pt x="43832" y="108902"/>
                        <a:pt x="66983" y="108902"/>
                      </a:cubicBezTo>
                      <a:cubicBezTo>
                        <a:pt x="90134" y="108902"/>
                        <a:pt x="108902" y="90133"/>
                        <a:pt x="108902" y="66983"/>
                      </a:cubicBezTo>
                      <a:cubicBezTo>
                        <a:pt x="108902" y="43832"/>
                        <a:pt x="90134" y="25064"/>
                        <a:pt x="66983" y="2506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3"/>
                  <a:endParaRPr lang="en-US" sz="1200" dirty="0"/>
                </a:p>
              </p:txBody>
            </p:sp>
          </p:grpSp>
        </p:grpSp>
      </p:grpSp>
      <p:sp>
        <p:nvSpPr>
          <p:cNvPr id="74" name="TextBox 73"/>
          <p:cNvSpPr txBox="1"/>
          <p:nvPr/>
        </p:nvSpPr>
        <p:spPr>
          <a:xfrm>
            <a:off x="5766794" y="5243266"/>
            <a:ext cx="6153912" cy="1429658"/>
          </a:xfrm>
          <a:prstGeom prst="rect">
            <a:avLst/>
          </a:prstGeom>
          <a:solidFill>
            <a:schemeClr val="bg1">
              <a:alpha val="41000"/>
            </a:schemeClr>
          </a:solidFill>
          <a:ln>
            <a:noFill/>
          </a:ln>
        </p:spPr>
        <p:txBody>
          <a:bodyPr vert="horz" wrap="square" lIns="1920240" tIns="45720" rIns="91440" bIns="45720" rtlCol="0" anchor="ctr">
            <a:noAutofit/>
          </a:bodyPr>
          <a:lstStyle/>
          <a:p>
            <a:r>
              <a:rPr lang="en-US" sz="1400" dirty="0">
                <a:solidFill>
                  <a:schemeClr val="tx1">
                    <a:lumMod val="75000"/>
                    <a:lumOff val="25000"/>
                  </a:schemeClr>
                </a:solidFill>
              </a:rPr>
              <a:t>“Safe Attachments in Exchange Online Advanced Threat Protection is going to reduce zero-day threats from malware and viruses. This will help prevent malicious attachments from impacting our environment.” </a:t>
            </a:r>
          </a:p>
          <a:p>
            <a:pPr algn="r"/>
            <a:r>
              <a:rPr lang="en-US" sz="1400" dirty="0">
                <a:solidFill>
                  <a:schemeClr val="tx1">
                    <a:lumMod val="75000"/>
                    <a:lumOff val="25000"/>
                  </a:schemeClr>
                </a:solidFill>
              </a:rPr>
              <a:t> </a:t>
            </a:r>
            <a:r>
              <a:rPr lang="en-US" sz="1200" i="1" dirty="0">
                <a:solidFill>
                  <a:schemeClr val="tx1">
                    <a:lumMod val="75000"/>
                    <a:lumOff val="25000"/>
                  </a:schemeClr>
                </a:solidFill>
              </a:rPr>
              <a:t>- Brian Ivie, Chief Security Officer, SunGard</a:t>
            </a:r>
          </a:p>
        </p:txBody>
      </p:sp>
      <p:sp>
        <p:nvSpPr>
          <p:cNvPr id="75" name="TextBox 74"/>
          <p:cNvSpPr txBox="1"/>
          <p:nvPr/>
        </p:nvSpPr>
        <p:spPr>
          <a:xfrm>
            <a:off x="5736365" y="5238640"/>
            <a:ext cx="1618592" cy="1434284"/>
          </a:xfrm>
          <a:prstGeom prst="rect">
            <a:avLst/>
          </a:prstGeom>
          <a:solidFill>
            <a:schemeClr val="tx2"/>
          </a:solidFill>
          <a:ln>
            <a:noFill/>
          </a:ln>
        </p:spPr>
        <p:txBody>
          <a:bodyPr vert="horz" wrap="square" lIns="91440" tIns="45720" rIns="91440" bIns="45720" rtlCol="0" anchor="ctr">
            <a:noAutofit/>
          </a:bodyPr>
          <a:lstStyle/>
          <a:p>
            <a:r>
              <a:rPr lang="en-US" sz="2000" dirty="0">
                <a:solidFill>
                  <a:schemeClr val="bg1"/>
                </a:solidFill>
                <a:latin typeface="Segoe UI Semibold" panose="020B0702040204020203" pitchFamily="34" charset="0"/>
                <a:cs typeface="Segoe UI Semibold" panose="020B0702040204020203" pitchFamily="34" charset="0"/>
              </a:rPr>
              <a:t>REDUCED RISK</a:t>
            </a:r>
          </a:p>
        </p:txBody>
      </p:sp>
      <p:grpSp>
        <p:nvGrpSpPr>
          <p:cNvPr id="76" name="Group 75"/>
          <p:cNvGrpSpPr/>
          <p:nvPr/>
        </p:nvGrpSpPr>
        <p:grpSpPr>
          <a:xfrm>
            <a:off x="7079323" y="5681417"/>
            <a:ext cx="553358" cy="553356"/>
            <a:chOff x="6625771" y="5385697"/>
            <a:chExt cx="629558" cy="629556"/>
          </a:xfrm>
          <a:solidFill>
            <a:schemeClr val="tx2"/>
          </a:solidFill>
        </p:grpSpPr>
        <p:sp>
          <p:nvSpPr>
            <p:cNvPr id="77" name="Diamond 76"/>
            <p:cNvSpPr/>
            <p:nvPr/>
          </p:nvSpPr>
          <p:spPr>
            <a:xfrm>
              <a:off x="6625771" y="5385697"/>
              <a:ext cx="629558" cy="629556"/>
            </a:xfrm>
            <a:prstGeom prst="diamond">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78" name="Diamond 77"/>
            <p:cNvSpPr/>
            <p:nvPr/>
          </p:nvSpPr>
          <p:spPr>
            <a:xfrm>
              <a:off x="6661075" y="5421001"/>
              <a:ext cx="558950" cy="558948"/>
            </a:xfrm>
            <a:prstGeom prst="diamond">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grpSp>
      <p:sp>
        <p:nvSpPr>
          <p:cNvPr id="82" name="Round Diagonal Corner Rectangle 53"/>
          <p:cNvSpPr/>
          <p:nvPr/>
        </p:nvSpPr>
        <p:spPr bwMode="auto">
          <a:xfrm>
            <a:off x="7259084" y="5846540"/>
            <a:ext cx="195263" cy="222256"/>
          </a:xfrm>
          <a:custGeom>
            <a:avLst/>
            <a:gdLst/>
            <a:ahLst/>
            <a:cxnLst/>
            <a:rect l="l" t="t" r="r" b="b"/>
            <a:pathLst>
              <a:path w="3235820" h="3683194">
                <a:moveTo>
                  <a:pt x="595559" y="2728977"/>
                </a:moveTo>
                <a:lnTo>
                  <a:pt x="778439" y="2728977"/>
                </a:lnTo>
                <a:lnTo>
                  <a:pt x="778439" y="2913127"/>
                </a:lnTo>
                <a:lnTo>
                  <a:pt x="595559" y="2913127"/>
                </a:lnTo>
                <a:close/>
                <a:moveTo>
                  <a:pt x="595559" y="2243919"/>
                </a:moveTo>
                <a:lnTo>
                  <a:pt x="778439" y="2243919"/>
                </a:lnTo>
                <a:lnTo>
                  <a:pt x="778439" y="2428069"/>
                </a:lnTo>
                <a:lnTo>
                  <a:pt x="595559" y="2428069"/>
                </a:lnTo>
                <a:close/>
                <a:moveTo>
                  <a:pt x="595559" y="1758862"/>
                </a:moveTo>
                <a:lnTo>
                  <a:pt x="778439" y="1758862"/>
                </a:lnTo>
                <a:lnTo>
                  <a:pt x="778439" y="1943012"/>
                </a:lnTo>
                <a:lnTo>
                  <a:pt x="595559" y="1943012"/>
                </a:lnTo>
                <a:close/>
                <a:moveTo>
                  <a:pt x="595559" y="1273805"/>
                </a:moveTo>
                <a:lnTo>
                  <a:pt x="778439" y="1273805"/>
                </a:lnTo>
                <a:lnTo>
                  <a:pt x="778439" y="1457955"/>
                </a:lnTo>
                <a:lnTo>
                  <a:pt x="595559" y="1457955"/>
                </a:lnTo>
                <a:close/>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3" name="Wave 8"/>
          <p:cNvSpPr/>
          <p:nvPr/>
        </p:nvSpPr>
        <p:spPr>
          <a:xfrm>
            <a:off x="7315008" y="5929705"/>
            <a:ext cx="106717" cy="7073"/>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84" name="Wave 8"/>
          <p:cNvSpPr/>
          <p:nvPr/>
        </p:nvSpPr>
        <p:spPr>
          <a:xfrm>
            <a:off x="7315008" y="5958660"/>
            <a:ext cx="106717" cy="7073"/>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85" name="Wave 8"/>
          <p:cNvSpPr/>
          <p:nvPr/>
        </p:nvSpPr>
        <p:spPr>
          <a:xfrm>
            <a:off x="7315008" y="5987656"/>
            <a:ext cx="106717" cy="7073"/>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86" name="Wave 8"/>
          <p:cNvSpPr/>
          <p:nvPr/>
        </p:nvSpPr>
        <p:spPr>
          <a:xfrm>
            <a:off x="7315008" y="6017256"/>
            <a:ext cx="106717" cy="7073"/>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87" name="Rounded Rectangle 86"/>
          <p:cNvSpPr/>
          <p:nvPr/>
        </p:nvSpPr>
        <p:spPr bwMode="auto">
          <a:xfrm rot="1763396">
            <a:off x="7259247" y="5816521"/>
            <a:ext cx="29457" cy="93933"/>
          </a:xfrm>
          <a:prstGeom prst="roundRect">
            <a:avLst>
              <a:gd name="adj"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IN"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5" name="Slide Number Placeholder 3"/>
          <p:cNvSpPr>
            <a:spLocks noGrp="1"/>
          </p:cNvSpPr>
          <p:nvPr>
            <p:ph type="sldNum" sz="quarter" idx="15"/>
          </p:nvPr>
        </p:nvSpPr>
        <p:spPr>
          <a:xfrm>
            <a:off x="11430003" y="6553201"/>
            <a:ext cx="761999" cy="304801"/>
          </a:xfrm>
        </p:spPr>
        <p:txBody>
          <a:bodyPr/>
          <a:lstStyle/>
          <a:p>
            <a:pPr algn="r"/>
            <a:fld id="{FAADACFB-7C71-4E89-89D2-7BBA40B7BFA9}" type="slidenum">
              <a:rPr lang="en-US" smtClean="0">
                <a:solidFill>
                  <a:srgbClr val="505050"/>
                </a:solidFill>
              </a:rPr>
              <a:pPr algn="r"/>
              <a:t>4</a:t>
            </a:fld>
            <a:endParaRPr lang="en-US" dirty="0">
              <a:solidFill>
                <a:srgbClr val="505050"/>
              </a:solidFill>
            </a:endParaRPr>
          </a:p>
        </p:txBody>
      </p:sp>
    </p:spTree>
    <p:extLst>
      <p:ext uri="{BB962C8B-B14F-4D97-AF65-F5344CB8AC3E}">
        <p14:creationId xmlns:p14="http://schemas.microsoft.com/office/powerpoint/2010/main" val="120841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8"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p:cNvSpPr/>
          <p:nvPr/>
        </p:nvSpPr>
        <p:spPr>
          <a:xfrm>
            <a:off x="7286016" y="0"/>
            <a:ext cx="4905984" cy="685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marL="0" marR="0" lvl="0" indent="0" algn="r" defTabSz="914367" eaLnBrk="1" fontAlgn="auto" latinLnBrk="0" hangingPunct="1">
              <a:lnSpc>
                <a:spcPct val="100000"/>
              </a:lnSpc>
              <a:spcBef>
                <a:spcPts val="0"/>
              </a:spcBef>
              <a:spcAft>
                <a:spcPts val="0"/>
              </a:spcAft>
              <a:buClrTx/>
              <a:buSzTx/>
              <a:buFontTx/>
              <a:buNone/>
              <a:tabLst/>
              <a:defRPr/>
            </a:pPr>
            <a:endParaRPr kumimoji="0" lang="en-US" sz="1176" b="0" i="0" u="none" strike="noStrike" kern="0" cap="none" spc="0" normalizeH="0" baseline="0" noProof="0" dirty="0">
              <a:ln>
                <a:noFill/>
              </a:ln>
              <a:solidFill>
                <a:srgbClr val="FFFFFF"/>
              </a:solidFill>
              <a:effectLst/>
              <a:uLnTx/>
              <a:uFillTx/>
            </a:endParaRPr>
          </a:p>
        </p:txBody>
      </p:sp>
      <p:sp>
        <p:nvSpPr>
          <p:cNvPr id="10" name="Rectangle 9"/>
          <p:cNvSpPr/>
          <p:nvPr/>
        </p:nvSpPr>
        <p:spPr bwMode="auto">
          <a:xfrm>
            <a:off x="0" y="1181100"/>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marR="0" lvl="0" indent="0" defTabSz="896010" eaLnBrk="1" fontAlgn="auto" latinLnBrk="0" hangingPunct="1">
              <a:lnSpc>
                <a:spcPct val="100000"/>
              </a:lnSpc>
              <a:spcBef>
                <a:spcPts val="0"/>
              </a:spcBef>
              <a:spcAft>
                <a:spcPts val="200"/>
              </a:spcAft>
              <a:buClrTx/>
              <a:buSzTx/>
              <a:buFontTx/>
              <a:buNone/>
              <a:tabLst/>
              <a:defRPr/>
            </a:pPr>
            <a:r>
              <a:rPr kumimoji="0" lang="en-GB" sz="20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Advanced Threat Protection</a:t>
            </a:r>
          </a:p>
          <a:p>
            <a:pPr marL="285750" marR="0" lvl="0" indent="-179388" defTabSz="896218"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Help protect against unknown malware and viruses</a:t>
            </a:r>
          </a:p>
          <a:p>
            <a:pPr marL="285750" marR="0" lvl="0" indent="-179388" defTabSz="89601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Provide real-time, time-of-click protection against malicious URLs</a:t>
            </a:r>
          </a:p>
          <a:p>
            <a:pPr marL="285750" marR="0" lvl="0" indent="-179388" defTabSz="89601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Deliver rich reporting and URL trace capabilities with Click Tracing </a:t>
            </a:r>
          </a:p>
        </p:txBody>
      </p:sp>
      <p:sp>
        <p:nvSpPr>
          <p:cNvPr id="2" name="Title 1"/>
          <p:cNvSpPr>
            <a:spLocks noGrp="1"/>
          </p:cNvSpPr>
          <p:nvPr>
            <p:ph type="title"/>
          </p:nvPr>
        </p:nvSpPr>
        <p:spPr/>
        <p:txBody>
          <a:bodyPr/>
          <a:lstStyle/>
          <a:p>
            <a:r>
              <a:rPr lang="en-US" dirty="0">
                <a:cs typeface="Segoe UI" panose="020B0502040204020203" pitchFamily="34" charset="0"/>
              </a:rPr>
              <a:t>Security</a:t>
            </a:r>
          </a:p>
        </p:txBody>
      </p:sp>
      <p:sp>
        <p:nvSpPr>
          <p:cNvPr id="11" name="Rectangle 10"/>
          <p:cNvSpPr/>
          <p:nvPr/>
        </p:nvSpPr>
        <p:spPr bwMode="auto">
          <a:xfrm>
            <a:off x="0" y="2548116"/>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marR="0" lvl="0" indent="0" defTabSz="896010" eaLnBrk="1" fontAlgn="auto" latinLnBrk="0" hangingPunct="1">
              <a:lnSpc>
                <a:spcPct val="100000"/>
              </a:lnSpc>
              <a:spcBef>
                <a:spcPts val="0"/>
              </a:spcBef>
              <a:spcAft>
                <a:spcPts val="200"/>
              </a:spcAft>
              <a:buClrTx/>
              <a:buSzTx/>
              <a:buFontTx/>
              <a:buNone/>
              <a:tabLst/>
              <a:defRPr/>
            </a:pPr>
            <a:r>
              <a:rPr kumimoji="0" lang="en-GB" sz="20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Advanced Security Management</a:t>
            </a:r>
          </a:p>
          <a:p>
            <a:pPr marL="285750" marR="0" lvl="0" indent="-179388" defTabSz="896218"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Identify high-risk and abnormal usage, security incidents, and threats</a:t>
            </a:r>
          </a:p>
          <a:p>
            <a:pPr marL="285750" marR="0" lvl="0" indent="-179388" defTabSz="896218"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Gain enhanced visibility and context into Office 365 usage and shadow IT</a:t>
            </a:r>
          </a:p>
          <a:p>
            <a:pPr marL="285750" marR="0" lvl="0" indent="-179388" defTabSz="896218"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Reduce the possibility of attacks with granular controls that monitor access</a:t>
            </a:r>
          </a:p>
        </p:txBody>
      </p:sp>
      <p:sp>
        <p:nvSpPr>
          <p:cNvPr id="12" name="Rectangle 11"/>
          <p:cNvSpPr/>
          <p:nvPr/>
        </p:nvSpPr>
        <p:spPr bwMode="auto">
          <a:xfrm>
            <a:off x="0" y="3860718"/>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marR="0" lvl="0" indent="0" defTabSz="896010" eaLnBrk="1" fontAlgn="auto" latinLnBrk="0" hangingPunct="1">
              <a:lnSpc>
                <a:spcPct val="100000"/>
              </a:lnSpc>
              <a:spcBef>
                <a:spcPts val="0"/>
              </a:spcBef>
              <a:spcAft>
                <a:spcPts val="200"/>
              </a:spcAft>
              <a:buClrTx/>
              <a:buSzTx/>
              <a:buFontTx/>
              <a:buNone/>
              <a:tabLst/>
              <a:defRPr/>
            </a:pPr>
            <a:r>
              <a:rPr kumimoji="0" lang="en-GB" sz="20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Customer Lockbox</a:t>
            </a:r>
          </a:p>
          <a:p>
            <a:pPr marL="285750" lvl="0" indent="-179388" defTabSz="896010">
              <a:spcAft>
                <a:spcPts val="300"/>
              </a:spcAft>
              <a:buFont typeface="Arial" panose="020B0604020202020204" pitchFamily="34" charset="0"/>
              <a:buChar char="•"/>
              <a:defRPr/>
            </a:pPr>
            <a:r>
              <a:rPr lang="en-US" sz="1400" kern="0" dirty="0">
                <a:solidFill>
                  <a:srgbClr val="797A7D"/>
                </a:solidFill>
              </a:rPr>
              <a:t>Meet HIPAA &amp; </a:t>
            </a:r>
            <a:r>
              <a:rPr lang="en-US" sz="1400" kern="0" dirty="0" err="1">
                <a:solidFill>
                  <a:srgbClr val="797A7D"/>
                </a:solidFill>
              </a:rPr>
              <a:t>FedRAMP</a:t>
            </a:r>
            <a:r>
              <a:rPr lang="en-US" sz="1400" kern="0" dirty="0">
                <a:solidFill>
                  <a:srgbClr val="797A7D"/>
                </a:solidFill>
              </a:rPr>
              <a:t> compliance needs with explicit data access procedures</a:t>
            </a:r>
          </a:p>
          <a:p>
            <a:pPr marL="285750" lvl="0" indent="-179388" defTabSz="896010">
              <a:spcAft>
                <a:spcPts val="300"/>
              </a:spcAft>
              <a:buFont typeface="Arial" panose="020B0604020202020204" pitchFamily="34" charset="0"/>
              <a:buChar char="•"/>
              <a:defRPr/>
            </a:pPr>
            <a:r>
              <a:rPr lang="en-US" sz="1400" kern="0" dirty="0">
                <a:solidFill>
                  <a:srgbClr val="797A7D"/>
                </a:solidFill>
              </a:rPr>
              <a:t>Full access control and oversight provided to customer</a:t>
            </a:r>
          </a:p>
          <a:p>
            <a:pPr marL="285750" lvl="0" indent="-179388" defTabSz="896010">
              <a:spcAft>
                <a:spcPts val="300"/>
              </a:spcAft>
              <a:buFont typeface="Arial" panose="020B0604020202020204" pitchFamily="34" charset="0"/>
              <a:buChar char="•"/>
              <a:defRPr/>
            </a:pPr>
            <a:r>
              <a:rPr lang="en-US" sz="1400" kern="0" dirty="0">
                <a:solidFill>
                  <a:srgbClr val="797A7D"/>
                </a:solidFill>
              </a:rPr>
              <a:t>Maximize data security and privacy by logging access control activities</a:t>
            </a:r>
            <a:endParaRPr kumimoji="0" lang="en-US" sz="1400" b="0" i="0" u="none" strike="noStrike" kern="0" cap="none" spc="0" normalizeH="0" baseline="0" noProof="0" dirty="0">
              <a:ln>
                <a:noFill/>
              </a:ln>
              <a:solidFill>
                <a:srgbClr val="797A7D"/>
              </a:solidFill>
              <a:effectLst/>
              <a:uLnTx/>
              <a:uFillTx/>
            </a:endParaRPr>
          </a:p>
        </p:txBody>
      </p:sp>
      <p:cxnSp>
        <p:nvCxnSpPr>
          <p:cNvPr id="6" name="Straight Connector 5"/>
          <p:cNvCxnSpPr/>
          <p:nvPr/>
        </p:nvCxnSpPr>
        <p:spPr>
          <a:xfrm>
            <a:off x="540126" y="1602795"/>
            <a:ext cx="6333113"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03028" y="2933654"/>
            <a:ext cx="6370211"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69478" y="4268320"/>
            <a:ext cx="6303761"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40126" y="5581072"/>
            <a:ext cx="6333113"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2088" y="5152984"/>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marR="0" lvl="0" indent="0" defTabSz="896010" eaLnBrk="1" fontAlgn="auto" latinLnBrk="0" hangingPunct="1">
              <a:lnSpc>
                <a:spcPct val="100000"/>
              </a:lnSpc>
              <a:spcBef>
                <a:spcPts val="0"/>
              </a:spcBef>
              <a:spcAft>
                <a:spcPts val="200"/>
              </a:spcAft>
              <a:buClrTx/>
              <a:buSzTx/>
              <a:buFontTx/>
              <a:buNone/>
              <a:tabLst/>
              <a:defRPr/>
            </a:pPr>
            <a:r>
              <a:rPr kumimoji="0" lang="en-GB" sz="20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Advanced eDiscovery</a:t>
            </a:r>
          </a:p>
          <a:p>
            <a:pPr marL="285750" marR="0" lvl="1" indent="-179388" defTabSz="896218"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Focus on what is unique and relevant by training the system to identify emails and documents through predictive coding</a:t>
            </a:r>
          </a:p>
          <a:p>
            <a:pPr marL="285750" marR="0" lvl="1" indent="-179388" defTabSz="89601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97A7D"/>
                </a:solidFill>
                <a:effectLst/>
                <a:uLnTx/>
                <a:uFillTx/>
              </a:rPr>
              <a:t>Reduce document volume with Near Duplicates and Email Threading</a:t>
            </a:r>
          </a:p>
        </p:txBody>
      </p:sp>
      <p:sp>
        <p:nvSpPr>
          <p:cNvPr id="31" name="TextBox 30"/>
          <p:cNvSpPr txBox="1"/>
          <p:nvPr/>
        </p:nvSpPr>
        <p:spPr>
          <a:xfrm>
            <a:off x="8528886" y="1569112"/>
            <a:ext cx="2420244" cy="215444"/>
          </a:xfrm>
          <a:prstGeom prst="rect">
            <a:avLst/>
          </a:prstGeom>
        </p:spPr>
        <p:txBody>
          <a:bodyPr wrap="square" lIns="0" tIns="0" rIns="0" bIns="0" rtlCol="0" anchor="ctr">
            <a:spAutoFit/>
          </a:bodyPr>
          <a:lstStyle/>
          <a:p>
            <a:pPr marL="0" marR="0" lvl="0" indent="0" algn="ctr" defTabSz="89621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Advanced Threat Protection</a:t>
            </a:r>
          </a:p>
        </p:txBody>
      </p:sp>
      <p:cxnSp>
        <p:nvCxnSpPr>
          <p:cNvPr id="32" name="Straight Connector 31"/>
          <p:cNvCxnSpPr/>
          <p:nvPr/>
        </p:nvCxnSpPr>
        <p:spPr>
          <a:xfrm>
            <a:off x="9393555" y="1856640"/>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rotWithShape="1">
          <a:blip r:embed="rId7"/>
          <a:srcRect l="7149" t="12558" r="6496" b="12013"/>
          <a:stretch/>
        </p:blipFill>
        <p:spPr>
          <a:xfrm>
            <a:off x="8625826" y="280901"/>
            <a:ext cx="2193150" cy="1183198"/>
          </a:xfrm>
          <a:prstGeom prst="rect">
            <a:avLst/>
          </a:prstGeom>
          <a:ln>
            <a:solidFill>
              <a:schemeClr val="bg2"/>
            </a:solidFill>
          </a:ln>
        </p:spPr>
      </p:pic>
      <p:pic>
        <p:nvPicPr>
          <p:cNvPr id="38" name="Picture 37"/>
          <p:cNvPicPr>
            <a:picLocks noChangeAspect="1"/>
          </p:cNvPicPr>
          <p:nvPr/>
        </p:nvPicPr>
        <p:blipFill rotWithShape="1">
          <a:blip r:embed="rId8"/>
          <a:srcRect l="6685" t="11959" r="6280" b="10197"/>
          <a:stretch/>
        </p:blipFill>
        <p:spPr>
          <a:xfrm>
            <a:off x="8625826" y="2144206"/>
            <a:ext cx="2193150" cy="1211526"/>
          </a:xfrm>
          <a:prstGeom prst="rect">
            <a:avLst/>
          </a:prstGeom>
          <a:ln>
            <a:solidFill>
              <a:schemeClr val="bg2"/>
            </a:solidFill>
          </a:ln>
        </p:spPr>
      </p:pic>
      <p:sp>
        <p:nvSpPr>
          <p:cNvPr id="39" name="TextBox 38"/>
          <p:cNvSpPr txBox="1"/>
          <p:nvPr/>
        </p:nvSpPr>
        <p:spPr>
          <a:xfrm>
            <a:off x="8321671" y="3518955"/>
            <a:ext cx="2834674" cy="215444"/>
          </a:xfrm>
          <a:prstGeom prst="rect">
            <a:avLst/>
          </a:prstGeom>
        </p:spPr>
        <p:txBody>
          <a:bodyPr wrap="square" lIns="0" tIns="0" rIns="0" bIns="0" rtlCol="0" anchor="ctr">
            <a:spAutoFit/>
          </a:bodyPr>
          <a:lstStyle/>
          <a:p>
            <a:pPr marL="0" marR="0" lvl="0" indent="0" algn="ctr" defTabSz="89621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Advanced Security Management</a:t>
            </a:r>
          </a:p>
        </p:txBody>
      </p:sp>
      <p:grpSp>
        <p:nvGrpSpPr>
          <p:cNvPr id="40" name="Group 39"/>
          <p:cNvGrpSpPr/>
          <p:nvPr/>
        </p:nvGrpSpPr>
        <p:grpSpPr>
          <a:xfrm>
            <a:off x="8504568" y="3936821"/>
            <a:ext cx="2468880" cy="997016"/>
            <a:chOff x="8518452" y="117855"/>
            <a:chExt cx="2468880" cy="997016"/>
          </a:xfrm>
        </p:grpSpPr>
        <p:pic>
          <p:nvPicPr>
            <p:cNvPr id="41" name="Picture 40"/>
            <p:cNvPicPr>
              <a:picLocks noChangeAspect="1"/>
            </p:cNvPicPr>
            <p:nvPr/>
          </p:nvPicPr>
          <p:blipFill>
            <a:blip r:embed="rId9">
              <a:clrChange>
                <a:clrFrom>
                  <a:srgbClr val="FFFFFF"/>
                </a:clrFrom>
                <a:clrTo>
                  <a:srgbClr val="FFFFFF">
                    <a:alpha val="0"/>
                  </a:srgbClr>
                </a:clrTo>
              </a:clrChange>
            </a:blip>
            <a:stretch>
              <a:fillRect/>
            </a:stretch>
          </p:blipFill>
          <p:spPr>
            <a:xfrm>
              <a:off x="8518452" y="117855"/>
              <a:ext cx="2468880" cy="741930"/>
            </a:xfrm>
            <a:prstGeom prst="rect">
              <a:avLst/>
            </a:prstGeom>
          </p:spPr>
        </p:pic>
        <p:sp>
          <p:nvSpPr>
            <p:cNvPr id="42" name="TextBox 41"/>
            <p:cNvSpPr txBox="1"/>
            <p:nvPr/>
          </p:nvSpPr>
          <p:spPr>
            <a:xfrm>
              <a:off x="8933904" y="808766"/>
              <a:ext cx="1637976" cy="215444"/>
            </a:xfrm>
            <a:prstGeom prst="rect">
              <a:avLst/>
            </a:prstGeom>
          </p:spPr>
          <p:txBody>
            <a:bodyPr wrap="square" lIns="0" tIns="0" rIns="0" bIns="0" rtlCol="0" anchor="ctr">
              <a:spAutoFit/>
            </a:bodyPr>
            <a:lstStyle/>
            <a:p>
              <a:pPr marL="0" marR="0" lvl="0" indent="0" algn="ctr" defTabSz="896218"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Customer Lockbox</a:t>
              </a:r>
            </a:p>
          </p:txBody>
        </p:sp>
        <p:cxnSp>
          <p:nvCxnSpPr>
            <p:cNvPr id="43" name="Straight Connector 42"/>
            <p:cNvCxnSpPr/>
            <p:nvPr/>
          </p:nvCxnSpPr>
          <p:spPr>
            <a:xfrm>
              <a:off x="9407439" y="1114871"/>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p:cNvCxnSpPr/>
          <p:nvPr/>
        </p:nvCxnSpPr>
        <p:spPr>
          <a:xfrm>
            <a:off x="9393555" y="3843186"/>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321671" y="6477718"/>
            <a:ext cx="2834674" cy="215444"/>
          </a:xfrm>
          <a:prstGeom prst="rect">
            <a:avLst/>
          </a:prstGeom>
        </p:spPr>
        <p:txBody>
          <a:bodyPr wrap="square" lIns="0" tIns="0" rIns="0" bIns="0" rtlCol="0" anchor="ctr">
            <a:spAutoFit/>
          </a:bodyPr>
          <a:lstStyle/>
          <a:p>
            <a:pPr marL="0" marR="0" lvl="0" indent="0" algn="ctr" defTabSz="896218"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Advanced </a:t>
            </a:r>
            <a:r>
              <a:rPr kumimoji="0" lang="en-US" sz="1400" b="0" i="0" u="none" strike="noStrike" kern="0" cap="none" spc="0" normalizeH="0" baseline="0" noProof="0" dirty="0">
                <a:ln>
                  <a:noFill/>
                </a:ln>
                <a:solidFill>
                  <a:srgbClr val="DC3C00"/>
                </a:solidFill>
                <a:effectLst/>
                <a:uLnTx/>
                <a:uFillTx/>
                <a:latin typeface="Segoe UI Semibold" panose="020B0702040204020203" pitchFamily="34" charset="0"/>
                <a:cs typeface="Segoe UI Semibold" panose="020B0702040204020203" pitchFamily="34" charset="0"/>
              </a:rPr>
              <a:t>eDiscovery</a:t>
            </a:r>
          </a:p>
        </p:txBody>
      </p:sp>
      <p:pic>
        <p:nvPicPr>
          <p:cNvPr id="50" name="Picture 49"/>
          <p:cNvPicPr>
            <a:picLocks noChangeAspect="1"/>
          </p:cNvPicPr>
          <p:nvPr/>
        </p:nvPicPr>
        <p:blipFill rotWithShape="1">
          <a:blip r:embed="rId10"/>
          <a:srcRect l="6338" t="8802" r="6119" b="10482"/>
          <a:stretch/>
        </p:blipFill>
        <p:spPr>
          <a:xfrm>
            <a:off x="8625827" y="5148811"/>
            <a:ext cx="2193150" cy="1248935"/>
          </a:xfrm>
          <a:prstGeom prst="rect">
            <a:avLst/>
          </a:prstGeom>
          <a:ln>
            <a:solidFill>
              <a:schemeClr val="bg2"/>
            </a:solidFill>
          </a:ln>
        </p:spPr>
      </p:pic>
      <p:sp>
        <p:nvSpPr>
          <p:cNvPr id="26" name="Slide Number Placeholder 3"/>
          <p:cNvSpPr>
            <a:spLocks noGrp="1"/>
          </p:cNvSpPr>
          <p:nvPr>
            <p:ph type="sldNum" sz="quarter" idx="15"/>
          </p:nvPr>
        </p:nvSpPr>
        <p:spPr>
          <a:xfrm>
            <a:off x="11430003" y="6553201"/>
            <a:ext cx="761999" cy="304801"/>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AADACFB-7C71-4E89-89D2-7BBA40B7BFA9}" type="slidenum">
              <a:rPr kumimoji="0" lang="en-US" sz="1800" b="0" i="0" u="none" strike="noStrike" kern="0" cap="none" spc="0" normalizeH="0" baseline="0" noProof="0" smtClean="0">
                <a:ln>
                  <a:noFill/>
                </a:ln>
                <a:solidFill>
                  <a:srgbClr val="50505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rgbClr val="505050"/>
              </a:solidFill>
              <a:effectLst/>
              <a:uLnTx/>
              <a:uFillTx/>
            </a:endParaRPr>
          </a:p>
        </p:txBody>
      </p:sp>
    </p:spTree>
    <p:extLst>
      <p:ext uri="{BB962C8B-B14F-4D97-AF65-F5344CB8AC3E}">
        <p14:creationId xmlns:p14="http://schemas.microsoft.com/office/powerpoint/2010/main" val="38790234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9" name="think-cell Slide" r:id="rId5" imgW="378" imgH="377" progId="TCLayout.ActiveDocument.1">
                  <p:embed/>
                </p:oleObj>
              </mc:Choice>
              <mc:Fallback>
                <p:oleObj name="think-cell Slide" r:id="rId5" imgW="378" imgH="377" progId="TCLayout.ActiveDocument.1">
                  <p:embed/>
                  <p:pic>
                    <p:nvPicPr>
                      <p:cNvPr id="37" name="Object 36"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8" name="Picture 17"/>
          <p:cNvPicPr>
            <a:picLocks noChangeAspect="1"/>
          </p:cNvPicPr>
          <p:nvPr/>
        </p:nvPicPr>
        <p:blipFill>
          <a:blip r:embed="rId7"/>
          <a:stretch>
            <a:fillRect/>
          </a:stretch>
        </p:blipFill>
        <p:spPr>
          <a:xfrm>
            <a:off x="0" y="0"/>
            <a:ext cx="5326380" cy="6858000"/>
          </a:xfrm>
          <a:prstGeom prst="rect">
            <a:avLst/>
          </a:prstGeom>
        </p:spPr>
      </p:pic>
      <p:sp>
        <p:nvSpPr>
          <p:cNvPr id="2" name="Slide Number Placeholder 1"/>
          <p:cNvSpPr>
            <a:spLocks noGrp="1"/>
          </p:cNvSpPr>
          <p:nvPr>
            <p:ph type="sldNum" sz="quarter" idx="16"/>
          </p:nvPr>
        </p:nvSpPr>
        <p:spPr>
          <a:xfrm>
            <a:off x="11430001" y="6553201"/>
            <a:ext cx="761999" cy="304801"/>
          </a:xfrm>
        </p:spPr>
        <p:txBody>
          <a:bodyPr/>
          <a:lstStyle/>
          <a:p>
            <a:fld id="{FAADACFB-7C71-4E89-89D2-7BBA40B7BFA9}" type="slidenum">
              <a:rPr lang="en-US" smtClean="0">
                <a:solidFill>
                  <a:srgbClr val="505050"/>
                </a:solidFill>
              </a:rPr>
              <a:pPr/>
              <a:t>6</a:t>
            </a:fld>
            <a:endParaRPr lang="en-US" dirty="0">
              <a:solidFill>
                <a:srgbClr val="505050"/>
              </a:solidFill>
            </a:endParaRPr>
          </a:p>
        </p:txBody>
      </p:sp>
      <p:sp>
        <p:nvSpPr>
          <p:cNvPr id="8" name="Title 2"/>
          <p:cNvSpPr txBox="1">
            <a:spLocks/>
          </p:cNvSpPr>
          <p:nvPr/>
        </p:nvSpPr>
        <p:spPr>
          <a:xfrm>
            <a:off x="5704115" y="191249"/>
            <a:ext cx="6487884" cy="1066460"/>
          </a:xfrm>
          <a:prstGeom prst="rect">
            <a:avLst/>
          </a:prstGeom>
        </p:spPr>
        <p:txBody>
          <a:bodyPr lIns="0"/>
          <a:lstStyle>
            <a:lvl1pPr marL="0" algn="l" defTabSz="1109731" rtl="0" eaLnBrk="1" latinLnBrk="0" hangingPunct="1">
              <a:lnSpc>
                <a:spcPct val="90000"/>
              </a:lnSpc>
              <a:spcBef>
                <a:spcPct val="0"/>
              </a:spcBef>
              <a:buNone/>
              <a:defRPr lang="en-US" sz="4896"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sz="4800" spc="-100" dirty="0">
                <a:cs typeface="Segoe UI" panose="020B0502040204020203" pitchFamily="34" charset="0"/>
              </a:rPr>
              <a:t>Analytics</a:t>
            </a:r>
          </a:p>
        </p:txBody>
      </p:sp>
      <p:sp>
        <p:nvSpPr>
          <p:cNvPr id="10" name="TextBox 9"/>
          <p:cNvSpPr txBox="1"/>
          <p:nvPr/>
        </p:nvSpPr>
        <p:spPr>
          <a:xfrm>
            <a:off x="5707744" y="886353"/>
            <a:ext cx="5978076" cy="546100"/>
          </a:xfrm>
          <a:prstGeom prst="rect">
            <a:avLst/>
          </a:prstGeom>
          <a:noFill/>
        </p:spPr>
        <p:txBody>
          <a:bodyPr vert="horz" wrap="square" lIns="0" tIns="91440" rIns="91440" bIns="91440" rtlCol="0" anchor="ctr">
            <a:noAutofit/>
          </a:bodyPr>
          <a:lstStyle/>
          <a:p>
            <a:r>
              <a:rPr lang="en-US" sz="2800" kern="0" dirty="0">
                <a:solidFill>
                  <a:schemeClr val="tx1">
                    <a:lumMod val="75000"/>
                    <a:lumOff val="25000"/>
                  </a:schemeClr>
                </a:solidFill>
                <a:latin typeface="+mj-lt"/>
                <a:cs typeface="Segoe UI Semibold" panose="020B0702040204020203" pitchFamily="34" charset="0"/>
              </a:rPr>
              <a:t>Insights for Everyone</a:t>
            </a:r>
          </a:p>
        </p:txBody>
      </p:sp>
      <p:sp>
        <p:nvSpPr>
          <p:cNvPr id="39" name="TextBox 38"/>
          <p:cNvSpPr txBox="1"/>
          <p:nvPr/>
        </p:nvSpPr>
        <p:spPr>
          <a:xfrm>
            <a:off x="5766794" y="5140526"/>
            <a:ext cx="6153912" cy="1429658"/>
          </a:xfrm>
          <a:prstGeom prst="rect">
            <a:avLst/>
          </a:prstGeom>
          <a:solidFill>
            <a:schemeClr val="bg1">
              <a:alpha val="41000"/>
            </a:schemeClr>
          </a:solidFill>
          <a:ln>
            <a:noFill/>
          </a:ln>
        </p:spPr>
        <p:txBody>
          <a:bodyPr vert="horz" wrap="square" lIns="1920240" tIns="45720" rIns="91440" bIns="45720" rtlCol="0" anchor="ctr">
            <a:noAutofit/>
          </a:bodyPr>
          <a:lstStyle/>
          <a:p>
            <a:pPr>
              <a:spcBef>
                <a:spcPts val="600"/>
              </a:spcBef>
            </a:pPr>
            <a:r>
              <a:rPr lang="en-US" sz="1400" dirty="0">
                <a:solidFill>
                  <a:schemeClr val="tx1">
                    <a:lumMod val="75000"/>
                    <a:lumOff val="25000"/>
                  </a:schemeClr>
                </a:solidFill>
              </a:rPr>
              <a:t>Focus on what matters to you, so you can make better business strategy decisions as well as personal and team productivity decisions. </a:t>
            </a:r>
          </a:p>
          <a:p>
            <a:pPr>
              <a:spcBef>
                <a:spcPts val="600"/>
              </a:spcBef>
            </a:pPr>
            <a:endParaRPr lang="en-US" sz="1400" dirty="0">
              <a:solidFill>
                <a:schemeClr val="tx1">
                  <a:lumMod val="75000"/>
                  <a:lumOff val="25000"/>
                </a:schemeClr>
              </a:solidFill>
            </a:endParaRPr>
          </a:p>
          <a:p>
            <a:r>
              <a:rPr lang="en-US" sz="1400" dirty="0">
                <a:solidFill>
                  <a:schemeClr val="tx1">
                    <a:lumMod val="75000"/>
                    <a:lumOff val="25000"/>
                  </a:schemeClr>
                </a:solidFill>
              </a:rPr>
              <a:t>“Office 365 has made Henkel faster and more agile.” </a:t>
            </a:r>
          </a:p>
          <a:p>
            <a:pPr algn="r"/>
            <a:r>
              <a:rPr lang="en-US" sz="1400" dirty="0">
                <a:solidFill>
                  <a:schemeClr val="tx1">
                    <a:lumMod val="75000"/>
                    <a:lumOff val="25000"/>
                  </a:schemeClr>
                </a:solidFill>
              </a:rPr>
              <a:t> </a:t>
            </a:r>
            <a:r>
              <a:rPr lang="en-US" sz="1200" i="1" dirty="0">
                <a:solidFill>
                  <a:schemeClr val="tx1">
                    <a:lumMod val="75000"/>
                    <a:lumOff val="25000"/>
                  </a:schemeClr>
                </a:solidFill>
              </a:rPr>
              <a:t>-Joachim Jaeckle, Senior CVP, Henkel</a:t>
            </a:r>
          </a:p>
        </p:txBody>
      </p:sp>
      <p:sp>
        <p:nvSpPr>
          <p:cNvPr id="40" name="TextBox 39"/>
          <p:cNvSpPr txBox="1"/>
          <p:nvPr/>
        </p:nvSpPr>
        <p:spPr>
          <a:xfrm>
            <a:off x="5736365" y="5135900"/>
            <a:ext cx="1618592" cy="1434284"/>
          </a:xfrm>
          <a:prstGeom prst="rect">
            <a:avLst/>
          </a:prstGeom>
          <a:solidFill>
            <a:schemeClr val="tx2"/>
          </a:solidFill>
          <a:ln>
            <a:noFill/>
          </a:ln>
        </p:spPr>
        <p:txBody>
          <a:bodyPr vert="horz" wrap="square" lIns="91440" tIns="45720" rIns="91440" bIns="45720" rtlCol="0" anchor="ctr">
            <a:noAutofit/>
          </a:bodyPr>
          <a:lstStyle/>
          <a:p>
            <a:r>
              <a:rPr lang="en-US" sz="2000" dirty="0">
                <a:solidFill>
                  <a:schemeClr val="bg1"/>
                </a:solidFill>
                <a:latin typeface="Segoe UI Semibold" panose="020B0702040204020203" pitchFamily="34" charset="0"/>
                <a:cs typeface="Segoe UI Semibold" panose="020B0702040204020203" pitchFamily="34" charset="0"/>
              </a:rPr>
              <a:t>BETTER DECISIONS</a:t>
            </a:r>
          </a:p>
        </p:txBody>
      </p:sp>
      <p:grpSp>
        <p:nvGrpSpPr>
          <p:cNvPr id="41" name="Group 40"/>
          <p:cNvGrpSpPr/>
          <p:nvPr/>
        </p:nvGrpSpPr>
        <p:grpSpPr>
          <a:xfrm>
            <a:off x="7079323" y="5578677"/>
            <a:ext cx="553358" cy="553356"/>
            <a:chOff x="6625771" y="5385697"/>
            <a:chExt cx="629558" cy="629556"/>
          </a:xfrm>
          <a:solidFill>
            <a:schemeClr val="tx2"/>
          </a:solidFill>
        </p:grpSpPr>
        <p:sp>
          <p:nvSpPr>
            <p:cNvPr id="42" name="Diamond 41"/>
            <p:cNvSpPr/>
            <p:nvPr/>
          </p:nvSpPr>
          <p:spPr>
            <a:xfrm>
              <a:off x="6625771" y="5385697"/>
              <a:ext cx="629558" cy="629556"/>
            </a:xfrm>
            <a:prstGeom prst="diamond">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43" name="Diamond 42"/>
            <p:cNvSpPr/>
            <p:nvPr/>
          </p:nvSpPr>
          <p:spPr>
            <a:xfrm>
              <a:off x="6661075" y="5421001"/>
              <a:ext cx="558950" cy="558948"/>
            </a:xfrm>
            <a:prstGeom prst="diamond">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grpSp>
      <p:grpSp>
        <p:nvGrpSpPr>
          <p:cNvPr id="54" name="Group 53"/>
          <p:cNvGrpSpPr/>
          <p:nvPr/>
        </p:nvGrpSpPr>
        <p:grpSpPr>
          <a:xfrm>
            <a:off x="7260752" y="5723435"/>
            <a:ext cx="190500" cy="263841"/>
            <a:chOff x="1371601" y="3200400"/>
            <a:chExt cx="1518158" cy="2102638"/>
          </a:xfrm>
        </p:grpSpPr>
        <p:sp>
          <p:nvSpPr>
            <p:cNvPr id="56" name="Rectangle 24"/>
            <p:cNvSpPr/>
            <p:nvPr/>
          </p:nvSpPr>
          <p:spPr>
            <a:xfrm>
              <a:off x="1371601" y="3200400"/>
              <a:ext cx="1518158" cy="2102638"/>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p>
          </p:txBody>
        </p:sp>
        <p:sp>
          <p:nvSpPr>
            <p:cNvPr id="57" name="Freeform 56"/>
            <p:cNvSpPr>
              <a:spLocks noEditPoints="1"/>
            </p:cNvSpPr>
            <p:nvPr/>
          </p:nvSpPr>
          <p:spPr bwMode="black">
            <a:xfrm rot="17995606">
              <a:off x="1586724" y="3400377"/>
              <a:ext cx="699165" cy="54900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chemeClr val="tx1">
                      <a:alpha val="0"/>
                    </a:schemeClr>
                  </a:solidFill>
                </a:ln>
              </a:endParaRPr>
            </a:p>
          </p:txBody>
        </p:sp>
      </p:grpSp>
      <p:sp>
        <p:nvSpPr>
          <p:cNvPr id="33" name="Rectangle 32"/>
          <p:cNvSpPr/>
          <p:nvPr/>
        </p:nvSpPr>
        <p:spPr bwMode="auto">
          <a:xfrm>
            <a:off x="1" y="4586957"/>
            <a:ext cx="5326380" cy="2271044"/>
          </a:xfrm>
          <a:prstGeom prst="rect">
            <a:avLst/>
          </a:prstGeom>
          <a:gradFill flip="none" rotWithShape="1">
            <a:gsLst>
              <a:gs pos="0">
                <a:schemeClr val="tx1">
                  <a:alpha val="0"/>
                </a:schemeClr>
              </a:gs>
              <a:gs pos="51111">
                <a:srgbClr val="000000">
                  <a:alpha val="48000"/>
                </a:srgbClr>
              </a:gs>
              <a:gs pos="100000">
                <a:schemeClr val="tx1">
                  <a:alpha val="71000"/>
                </a:schemeClr>
              </a:gs>
            </a:gsLst>
            <a:lin ang="540000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274320" rtlCol="0" anchor="b" anchorCtr="0"/>
          <a:lstStyle/>
          <a:p>
            <a:pPr algn="ctr" defTabSz="913861">
              <a:spcAft>
                <a:spcPts val="600"/>
              </a:spcAft>
            </a:pPr>
            <a:r>
              <a:rPr lang="en-US" sz="4400" kern="0" dirty="0">
                <a:solidFill>
                  <a:schemeClr val="accent1"/>
                </a:solidFill>
              </a:rPr>
              <a:t>Leader</a:t>
            </a:r>
            <a:br>
              <a:rPr lang="en-US" sz="4400" kern="0" dirty="0">
                <a:solidFill>
                  <a:schemeClr val="accent1"/>
                </a:solidFill>
              </a:rPr>
            </a:br>
            <a:r>
              <a:rPr lang="en-US" sz="2000" kern="0" dirty="0">
                <a:solidFill>
                  <a:schemeClr val="bg1"/>
                </a:solidFill>
              </a:rPr>
              <a:t>In Gartner’s Magic Quadrant for </a:t>
            </a:r>
            <a:br>
              <a:rPr lang="en-US" sz="2000" kern="0" dirty="0">
                <a:solidFill>
                  <a:schemeClr val="bg1"/>
                </a:solidFill>
              </a:rPr>
            </a:br>
            <a:r>
              <a:rPr lang="en-US" sz="2000" kern="0" dirty="0">
                <a:solidFill>
                  <a:schemeClr val="bg1"/>
                </a:solidFill>
              </a:rPr>
              <a:t>Business Intelligence and Analytics Platforms </a:t>
            </a:r>
            <a:br>
              <a:rPr lang="en-US" sz="2000" kern="0" dirty="0">
                <a:solidFill>
                  <a:schemeClr val="bg1"/>
                </a:solidFill>
              </a:rPr>
            </a:br>
            <a:r>
              <a:rPr lang="en-US" sz="2000" kern="0" dirty="0">
                <a:solidFill>
                  <a:schemeClr val="bg1"/>
                </a:solidFill>
              </a:rPr>
              <a:t>for the ninth consecutive year </a:t>
            </a:r>
            <a:br>
              <a:rPr lang="en-US" sz="2000" kern="0" dirty="0">
                <a:solidFill>
                  <a:schemeClr val="bg1"/>
                </a:solidFill>
              </a:rPr>
            </a:br>
            <a:r>
              <a:rPr lang="en-US" sz="2000" kern="0" dirty="0">
                <a:solidFill>
                  <a:schemeClr val="bg1"/>
                </a:solidFill>
              </a:rPr>
              <a:t>and placed furthest in vision</a:t>
            </a:r>
          </a:p>
        </p:txBody>
      </p:sp>
      <p:sp>
        <p:nvSpPr>
          <p:cNvPr id="34" name="TextBox 33"/>
          <p:cNvSpPr txBox="1"/>
          <p:nvPr/>
        </p:nvSpPr>
        <p:spPr>
          <a:xfrm>
            <a:off x="0" y="6553200"/>
            <a:ext cx="5326380" cy="304799"/>
          </a:xfrm>
          <a:prstGeom prst="rect">
            <a:avLst/>
          </a:prstGeom>
          <a:noFill/>
          <a:ln>
            <a:noFill/>
          </a:ln>
        </p:spPr>
        <p:txBody>
          <a:bodyPr vert="horz" wrap="square" lIns="91440" tIns="45720" rIns="91440" bIns="45720" rtlCol="0" anchor="ctr">
            <a:noAutofit/>
          </a:bodyPr>
          <a:lstStyle/>
          <a:p>
            <a:r>
              <a:rPr lang="en-US" sz="1000" dirty="0">
                <a:solidFill>
                  <a:schemeClr val="bg1"/>
                </a:solidFill>
              </a:rPr>
              <a:t>*Gartner’s Magic Quadrant for Business Intelligence and Analytics Platforms, February 2016</a:t>
            </a:r>
            <a:endParaRPr lang="en-US" sz="900" i="1" dirty="0">
              <a:solidFill>
                <a:schemeClr val="bg1"/>
              </a:solidFill>
            </a:endParaRPr>
          </a:p>
        </p:txBody>
      </p:sp>
      <p:sp>
        <p:nvSpPr>
          <p:cNvPr id="67" name="Rectangle 41"/>
          <p:cNvSpPr/>
          <p:nvPr/>
        </p:nvSpPr>
        <p:spPr>
          <a:xfrm>
            <a:off x="6434729" y="1706540"/>
            <a:ext cx="5582013" cy="711741"/>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Transform your company’s data into rich visuals and analytics for better decision making</a:t>
            </a:r>
            <a:endParaRPr lang="en-US" kern="0"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68" name="Rectangle 42"/>
          <p:cNvSpPr/>
          <p:nvPr/>
        </p:nvSpPr>
        <p:spPr>
          <a:xfrm>
            <a:off x="6434729" y="2604316"/>
            <a:ext cx="5582013" cy="698550"/>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Be more effective, make better decisions, and save hours every week with time and relationship insights for individuals and teams</a:t>
            </a:r>
            <a:endParaRPr lang="en-US" kern="0" dirty="0">
              <a:solidFill>
                <a:schemeClr val="tx1">
                  <a:lumMod val="75000"/>
                  <a:lumOff val="25000"/>
                </a:schemeClr>
              </a:solidFill>
              <a:latin typeface="Segoe UI Semibold" panose="020B0702040204020203" pitchFamily="34" charset="0"/>
              <a:cs typeface="Segoe UI Semibold" panose="020B0702040204020203" pitchFamily="34" charset="0"/>
            </a:endParaRPr>
          </a:p>
        </p:txBody>
      </p:sp>
      <p:sp>
        <p:nvSpPr>
          <p:cNvPr id="69" name="Freeform 68"/>
          <p:cNvSpPr/>
          <p:nvPr/>
        </p:nvSpPr>
        <p:spPr>
          <a:xfrm>
            <a:off x="6042990" y="1569264"/>
            <a:ext cx="5693397" cy="1694483"/>
          </a:xfrm>
          <a:custGeom>
            <a:avLst/>
            <a:gdLst>
              <a:gd name="connsiteX0" fmla="*/ 6235700 w 6235700"/>
              <a:gd name="connsiteY0" fmla="*/ 0 h 2946400"/>
              <a:gd name="connsiteX1" fmla="*/ 0 w 6235700"/>
              <a:gd name="connsiteY1" fmla="*/ 0 h 2946400"/>
              <a:gd name="connsiteX2" fmla="*/ 0 w 6235700"/>
              <a:gd name="connsiteY2" fmla="*/ 2946400 h 2946400"/>
            </a:gdLst>
            <a:ahLst/>
            <a:cxnLst>
              <a:cxn ang="0">
                <a:pos x="connsiteX0" y="connsiteY0"/>
              </a:cxn>
              <a:cxn ang="0">
                <a:pos x="connsiteX1" y="connsiteY1"/>
              </a:cxn>
              <a:cxn ang="0">
                <a:pos x="connsiteX2" y="connsiteY2"/>
              </a:cxn>
            </a:cxnLst>
            <a:rect l="l" t="t" r="r" b="b"/>
            <a:pathLst>
              <a:path w="6235700" h="2946400">
                <a:moveTo>
                  <a:pt x="6235700" y="0"/>
                </a:moveTo>
                <a:lnTo>
                  <a:pt x="0" y="0"/>
                </a:lnTo>
                <a:lnTo>
                  <a:pt x="0" y="2946400"/>
                </a:lnTo>
              </a:path>
            </a:pathLst>
          </a:cu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dirty="0"/>
          </a:p>
        </p:txBody>
      </p:sp>
      <p:sp>
        <p:nvSpPr>
          <p:cNvPr id="70" name="Diamond 69"/>
          <p:cNvSpPr/>
          <p:nvPr/>
        </p:nvSpPr>
        <p:spPr>
          <a:xfrm>
            <a:off x="5731551" y="1747629"/>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71" name="Diamond 70"/>
          <p:cNvSpPr/>
          <p:nvPr/>
        </p:nvSpPr>
        <p:spPr>
          <a:xfrm>
            <a:off x="5731551" y="2634191"/>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77" name="Circular Arrow 5"/>
          <p:cNvSpPr/>
          <p:nvPr/>
        </p:nvSpPr>
        <p:spPr>
          <a:xfrm flipV="1">
            <a:off x="5900872" y="1958842"/>
            <a:ext cx="257588" cy="218568"/>
          </a:xfrm>
          <a:custGeom>
            <a:avLst/>
            <a:gdLst/>
            <a:ahLst/>
            <a:cxnLst/>
            <a:rect l="l" t="t" r="r" b="b"/>
            <a:pathLst>
              <a:path w="3408790" h="2892425">
                <a:moveTo>
                  <a:pt x="1465690" y="1552079"/>
                </a:moveTo>
                <a:lnTo>
                  <a:pt x="1465690" y="863811"/>
                </a:lnTo>
                <a:cubicBezTo>
                  <a:pt x="1025912" y="818531"/>
                  <a:pt x="687658" y="447089"/>
                  <a:pt x="687658" y="1"/>
                </a:cubicBezTo>
                <a:lnTo>
                  <a:pt x="0" y="0"/>
                </a:lnTo>
                <a:cubicBezTo>
                  <a:pt x="0" y="420979"/>
                  <a:pt x="170432" y="824025"/>
                  <a:pt x="472457" y="1117289"/>
                </a:cubicBezTo>
                <a:cubicBezTo>
                  <a:pt x="741422" y="1378453"/>
                  <a:pt x="1094344" y="1532738"/>
                  <a:pt x="1465690" y="1552079"/>
                </a:cubicBezTo>
                <a:close/>
                <a:moveTo>
                  <a:pt x="1132420" y="2149476"/>
                </a:moveTo>
                <a:lnTo>
                  <a:pt x="1509182" y="2149476"/>
                </a:lnTo>
                <a:cubicBezTo>
                  <a:pt x="1561204" y="2149476"/>
                  <a:pt x="1603376" y="2107304"/>
                  <a:pt x="1603376" y="2055282"/>
                </a:cubicBezTo>
                <a:lnTo>
                  <a:pt x="1603376" y="383120"/>
                </a:lnTo>
                <a:cubicBezTo>
                  <a:pt x="1603376" y="331098"/>
                  <a:pt x="1561204" y="288926"/>
                  <a:pt x="1509182" y="288926"/>
                </a:cubicBezTo>
                <a:lnTo>
                  <a:pt x="1132420" y="288926"/>
                </a:lnTo>
                <a:cubicBezTo>
                  <a:pt x="1080398" y="288926"/>
                  <a:pt x="1038226" y="331098"/>
                  <a:pt x="1038226" y="383120"/>
                </a:cubicBezTo>
                <a:lnTo>
                  <a:pt x="1038226" y="447676"/>
                </a:lnTo>
                <a:lnTo>
                  <a:pt x="1374243" y="447676"/>
                </a:lnTo>
                <a:cubicBezTo>
                  <a:pt x="1426265" y="447676"/>
                  <a:pt x="1468437" y="489848"/>
                  <a:pt x="1468437" y="541870"/>
                </a:cubicBezTo>
                <a:lnTo>
                  <a:pt x="1468437" y="1896532"/>
                </a:lnTo>
                <a:cubicBezTo>
                  <a:pt x="1468437" y="1948554"/>
                  <a:pt x="1426265" y="1990726"/>
                  <a:pt x="1374243" y="1990726"/>
                </a:cubicBezTo>
                <a:lnTo>
                  <a:pt x="1038226" y="1990726"/>
                </a:lnTo>
                <a:lnTo>
                  <a:pt x="1038226" y="2055282"/>
                </a:lnTo>
                <a:cubicBezTo>
                  <a:pt x="1038226" y="2107304"/>
                  <a:pt x="1080398" y="2149476"/>
                  <a:pt x="1132420" y="2149476"/>
                </a:cubicBezTo>
                <a:close/>
                <a:moveTo>
                  <a:pt x="0" y="2419351"/>
                </a:moveTo>
                <a:lnTo>
                  <a:pt x="687658" y="2419350"/>
                </a:lnTo>
                <a:cubicBezTo>
                  <a:pt x="687658" y="1972262"/>
                  <a:pt x="1025913" y="1605265"/>
                  <a:pt x="1465690" y="1560275"/>
                </a:cubicBezTo>
                <a:lnTo>
                  <a:pt x="1465690" y="1557048"/>
                </a:lnTo>
                <a:cubicBezTo>
                  <a:pt x="1251813" y="1573335"/>
                  <a:pt x="751529" y="1397813"/>
                  <a:pt x="581026" y="1214152"/>
                </a:cubicBezTo>
                <a:cubicBezTo>
                  <a:pt x="567287" y="1217931"/>
                  <a:pt x="507383" y="1270265"/>
                  <a:pt x="472457" y="1302062"/>
                </a:cubicBezTo>
                <a:cubicBezTo>
                  <a:pt x="117165" y="1710688"/>
                  <a:pt x="0" y="1998372"/>
                  <a:pt x="0" y="2419351"/>
                </a:cubicBezTo>
                <a:close/>
                <a:moveTo>
                  <a:pt x="3326240" y="2892425"/>
                </a:moveTo>
                <a:lnTo>
                  <a:pt x="3408790" y="1558925"/>
                </a:lnTo>
                <a:lnTo>
                  <a:pt x="3148440" y="1704975"/>
                </a:lnTo>
                <a:cubicBezTo>
                  <a:pt x="2981223" y="1366308"/>
                  <a:pt x="2680657" y="926042"/>
                  <a:pt x="1827640" y="879475"/>
                </a:cubicBezTo>
                <a:lnTo>
                  <a:pt x="1827640" y="1590675"/>
                </a:lnTo>
                <a:cubicBezTo>
                  <a:pt x="2140907" y="1544108"/>
                  <a:pt x="2409723" y="1643592"/>
                  <a:pt x="2576940" y="1965325"/>
                </a:cubicBezTo>
                <a:lnTo>
                  <a:pt x="2259440" y="213042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solidFill>
                <a:schemeClr val="tx1"/>
              </a:solidFill>
            </a:endParaRPr>
          </a:p>
        </p:txBody>
      </p:sp>
      <p:sp>
        <p:nvSpPr>
          <p:cNvPr id="78" name="Freeform 77"/>
          <p:cNvSpPr>
            <a:spLocks/>
          </p:cNvSpPr>
          <p:nvPr/>
        </p:nvSpPr>
        <p:spPr bwMode="auto">
          <a:xfrm>
            <a:off x="5915806" y="2861650"/>
            <a:ext cx="139025" cy="218322"/>
          </a:xfrm>
          <a:custGeom>
            <a:avLst/>
            <a:gdLst>
              <a:gd name="T0" fmla="*/ 82 w 203"/>
              <a:gd name="T1" fmla="*/ 195 h 321"/>
              <a:gd name="T2" fmla="*/ 82 w 203"/>
              <a:gd name="T3" fmla="*/ 195 h 321"/>
              <a:gd name="T4" fmla="*/ 143 w 203"/>
              <a:gd name="T5" fmla="*/ 84 h 321"/>
              <a:gd name="T6" fmla="*/ 143 w 203"/>
              <a:gd name="T7" fmla="*/ 49 h 321"/>
              <a:gd name="T8" fmla="*/ 175 w 203"/>
              <a:gd name="T9" fmla="*/ 69 h 321"/>
              <a:gd name="T10" fmla="*/ 203 w 203"/>
              <a:gd name="T11" fmla="*/ 64 h 321"/>
              <a:gd name="T12" fmla="*/ 160 w 203"/>
              <a:gd name="T13" fmla="*/ 2 h 321"/>
              <a:gd name="T14" fmla="*/ 117 w 203"/>
              <a:gd name="T15" fmla="*/ 0 h 321"/>
              <a:gd name="T16" fmla="*/ 89 w 203"/>
              <a:gd name="T17" fmla="*/ 36 h 321"/>
              <a:gd name="T18" fmla="*/ 61 w 203"/>
              <a:gd name="T19" fmla="*/ 0 h 321"/>
              <a:gd name="T20" fmla="*/ 28 w 203"/>
              <a:gd name="T21" fmla="*/ 0 h 321"/>
              <a:gd name="T22" fmla="*/ 0 w 203"/>
              <a:gd name="T23" fmla="*/ 28 h 321"/>
              <a:gd name="T24" fmla="*/ 0 w 203"/>
              <a:gd name="T25" fmla="*/ 132 h 321"/>
              <a:gd name="T26" fmla="*/ 28 w 203"/>
              <a:gd name="T27" fmla="*/ 160 h 321"/>
              <a:gd name="T28" fmla="*/ 35 w 203"/>
              <a:gd name="T29" fmla="*/ 160 h 321"/>
              <a:gd name="T30" fmla="*/ 35 w 203"/>
              <a:gd name="T31" fmla="*/ 174 h 321"/>
              <a:gd name="T32" fmla="*/ 35 w 203"/>
              <a:gd name="T33" fmla="*/ 279 h 321"/>
              <a:gd name="T34" fmla="*/ 35 w 203"/>
              <a:gd name="T35" fmla="*/ 293 h 321"/>
              <a:gd name="T36" fmla="*/ 63 w 203"/>
              <a:gd name="T37" fmla="*/ 321 h 321"/>
              <a:gd name="T38" fmla="*/ 89 w 203"/>
              <a:gd name="T39" fmla="*/ 304 h 321"/>
              <a:gd name="T40" fmla="*/ 115 w 203"/>
              <a:gd name="T41" fmla="*/ 321 h 321"/>
              <a:gd name="T42" fmla="*/ 141 w 203"/>
              <a:gd name="T43" fmla="*/ 305 h 321"/>
              <a:gd name="T44" fmla="*/ 82 w 203"/>
              <a:gd name="T45" fmla="*/ 19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3" h="321">
                <a:moveTo>
                  <a:pt x="82" y="195"/>
                </a:moveTo>
                <a:lnTo>
                  <a:pt x="82" y="195"/>
                </a:lnTo>
                <a:cubicBezTo>
                  <a:pt x="82" y="148"/>
                  <a:pt x="107" y="107"/>
                  <a:pt x="143" y="84"/>
                </a:cubicBezTo>
                <a:lnTo>
                  <a:pt x="143" y="49"/>
                </a:lnTo>
                <a:cubicBezTo>
                  <a:pt x="143" y="49"/>
                  <a:pt x="158" y="58"/>
                  <a:pt x="175" y="69"/>
                </a:cubicBezTo>
                <a:cubicBezTo>
                  <a:pt x="184" y="66"/>
                  <a:pt x="193" y="65"/>
                  <a:pt x="203" y="64"/>
                </a:cubicBezTo>
                <a:lnTo>
                  <a:pt x="160" y="2"/>
                </a:lnTo>
                <a:cubicBezTo>
                  <a:pt x="145" y="2"/>
                  <a:pt x="117" y="0"/>
                  <a:pt x="117" y="0"/>
                </a:cubicBezTo>
                <a:lnTo>
                  <a:pt x="89" y="36"/>
                </a:lnTo>
                <a:lnTo>
                  <a:pt x="61" y="0"/>
                </a:lnTo>
                <a:lnTo>
                  <a:pt x="28" y="0"/>
                </a:lnTo>
                <a:cubicBezTo>
                  <a:pt x="13" y="0"/>
                  <a:pt x="0" y="13"/>
                  <a:pt x="0" y="28"/>
                </a:cubicBezTo>
                <a:lnTo>
                  <a:pt x="0" y="132"/>
                </a:lnTo>
                <a:cubicBezTo>
                  <a:pt x="0" y="147"/>
                  <a:pt x="13" y="160"/>
                  <a:pt x="28" y="160"/>
                </a:cubicBezTo>
                <a:lnTo>
                  <a:pt x="35" y="160"/>
                </a:lnTo>
                <a:lnTo>
                  <a:pt x="35" y="174"/>
                </a:lnTo>
                <a:lnTo>
                  <a:pt x="35" y="279"/>
                </a:lnTo>
                <a:lnTo>
                  <a:pt x="35" y="293"/>
                </a:lnTo>
                <a:cubicBezTo>
                  <a:pt x="35" y="309"/>
                  <a:pt x="48" y="321"/>
                  <a:pt x="63" y="321"/>
                </a:cubicBezTo>
                <a:cubicBezTo>
                  <a:pt x="75" y="321"/>
                  <a:pt x="85" y="314"/>
                  <a:pt x="89" y="304"/>
                </a:cubicBezTo>
                <a:cubicBezTo>
                  <a:pt x="93" y="314"/>
                  <a:pt x="104" y="321"/>
                  <a:pt x="115" y="321"/>
                </a:cubicBezTo>
                <a:cubicBezTo>
                  <a:pt x="127" y="321"/>
                  <a:pt x="137" y="315"/>
                  <a:pt x="141" y="305"/>
                </a:cubicBezTo>
                <a:cubicBezTo>
                  <a:pt x="106" y="281"/>
                  <a:pt x="82" y="241"/>
                  <a:pt x="82" y="195"/>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79" name="Freeform 78"/>
          <p:cNvSpPr>
            <a:spLocks/>
          </p:cNvSpPr>
          <p:nvPr/>
        </p:nvSpPr>
        <p:spPr bwMode="auto">
          <a:xfrm>
            <a:off x="5965237" y="2912112"/>
            <a:ext cx="192576" cy="178159"/>
          </a:xfrm>
          <a:custGeom>
            <a:avLst/>
            <a:gdLst>
              <a:gd name="T0" fmla="*/ 141 w 282"/>
              <a:gd name="T1" fmla="*/ 261 h 261"/>
              <a:gd name="T2" fmla="*/ 141 w 282"/>
              <a:gd name="T3" fmla="*/ 261 h 261"/>
              <a:gd name="T4" fmla="*/ 0 w 282"/>
              <a:gd name="T5" fmla="*/ 120 h 261"/>
              <a:gd name="T6" fmla="*/ 62 w 282"/>
              <a:gd name="T7" fmla="*/ 3 h 261"/>
              <a:gd name="T8" fmla="*/ 75 w 282"/>
              <a:gd name="T9" fmla="*/ 5 h 261"/>
              <a:gd name="T10" fmla="*/ 73 w 282"/>
              <a:gd name="T11" fmla="*/ 19 h 261"/>
              <a:gd name="T12" fmla="*/ 19 w 282"/>
              <a:gd name="T13" fmla="*/ 120 h 261"/>
              <a:gd name="T14" fmla="*/ 141 w 282"/>
              <a:gd name="T15" fmla="*/ 242 h 261"/>
              <a:gd name="T16" fmla="*/ 263 w 282"/>
              <a:gd name="T17" fmla="*/ 120 h 261"/>
              <a:gd name="T18" fmla="*/ 232 w 282"/>
              <a:gd name="T19" fmla="*/ 39 h 261"/>
              <a:gd name="T20" fmla="*/ 233 w 282"/>
              <a:gd name="T21" fmla="*/ 25 h 261"/>
              <a:gd name="T22" fmla="*/ 247 w 282"/>
              <a:gd name="T23" fmla="*/ 26 h 261"/>
              <a:gd name="T24" fmla="*/ 282 w 282"/>
              <a:gd name="T25" fmla="*/ 120 h 261"/>
              <a:gd name="T26" fmla="*/ 141 w 282"/>
              <a:gd name="T27"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 h="261">
                <a:moveTo>
                  <a:pt x="141" y="261"/>
                </a:moveTo>
                <a:lnTo>
                  <a:pt x="141" y="261"/>
                </a:lnTo>
                <a:cubicBezTo>
                  <a:pt x="63" y="261"/>
                  <a:pt x="0" y="198"/>
                  <a:pt x="0" y="120"/>
                </a:cubicBezTo>
                <a:cubicBezTo>
                  <a:pt x="0" y="73"/>
                  <a:pt x="23" y="29"/>
                  <a:pt x="62" y="3"/>
                </a:cubicBezTo>
                <a:cubicBezTo>
                  <a:pt x="66" y="0"/>
                  <a:pt x="72" y="1"/>
                  <a:pt x="75" y="5"/>
                </a:cubicBezTo>
                <a:cubicBezTo>
                  <a:pt x="78" y="10"/>
                  <a:pt x="77" y="16"/>
                  <a:pt x="73" y="19"/>
                </a:cubicBezTo>
                <a:cubicBezTo>
                  <a:pt x="39" y="41"/>
                  <a:pt x="19" y="79"/>
                  <a:pt x="19" y="120"/>
                </a:cubicBezTo>
                <a:cubicBezTo>
                  <a:pt x="19" y="187"/>
                  <a:pt x="74" y="242"/>
                  <a:pt x="141" y="242"/>
                </a:cubicBezTo>
                <a:cubicBezTo>
                  <a:pt x="208" y="242"/>
                  <a:pt x="263" y="187"/>
                  <a:pt x="263" y="120"/>
                </a:cubicBezTo>
                <a:cubicBezTo>
                  <a:pt x="263" y="90"/>
                  <a:pt x="252" y="61"/>
                  <a:pt x="232" y="39"/>
                </a:cubicBezTo>
                <a:cubicBezTo>
                  <a:pt x="229" y="35"/>
                  <a:pt x="229" y="29"/>
                  <a:pt x="233" y="25"/>
                </a:cubicBezTo>
                <a:cubicBezTo>
                  <a:pt x="237" y="22"/>
                  <a:pt x="243" y="22"/>
                  <a:pt x="247" y="26"/>
                </a:cubicBezTo>
                <a:cubicBezTo>
                  <a:pt x="269" y="52"/>
                  <a:pt x="282" y="85"/>
                  <a:pt x="282" y="120"/>
                </a:cubicBezTo>
                <a:cubicBezTo>
                  <a:pt x="282" y="198"/>
                  <a:pt x="219" y="261"/>
                  <a:pt x="141" y="26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80" name="Freeform 79"/>
          <p:cNvSpPr>
            <a:spLocks/>
          </p:cNvSpPr>
          <p:nvPr/>
        </p:nvSpPr>
        <p:spPr bwMode="auto">
          <a:xfrm>
            <a:off x="5945671" y="2786474"/>
            <a:ext cx="61789" cy="61789"/>
          </a:xfrm>
          <a:custGeom>
            <a:avLst/>
            <a:gdLst>
              <a:gd name="T0" fmla="*/ 45 w 91"/>
              <a:gd name="T1" fmla="*/ 91 h 91"/>
              <a:gd name="T2" fmla="*/ 45 w 91"/>
              <a:gd name="T3" fmla="*/ 91 h 91"/>
              <a:gd name="T4" fmla="*/ 91 w 91"/>
              <a:gd name="T5" fmla="*/ 45 h 91"/>
              <a:gd name="T6" fmla="*/ 45 w 91"/>
              <a:gd name="T7" fmla="*/ 0 h 91"/>
              <a:gd name="T8" fmla="*/ 0 w 91"/>
              <a:gd name="T9" fmla="*/ 45 h 91"/>
              <a:gd name="T10" fmla="*/ 45 w 91"/>
              <a:gd name="T11" fmla="*/ 91 h 91"/>
            </a:gdLst>
            <a:ahLst/>
            <a:cxnLst>
              <a:cxn ang="0">
                <a:pos x="T0" y="T1"/>
              </a:cxn>
              <a:cxn ang="0">
                <a:pos x="T2" y="T3"/>
              </a:cxn>
              <a:cxn ang="0">
                <a:pos x="T4" y="T5"/>
              </a:cxn>
              <a:cxn ang="0">
                <a:pos x="T6" y="T7"/>
              </a:cxn>
              <a:cxn ang="0">
                <a:pos x="T8" y="T9"/>
              </a:cxn>
              <a:cxn ang="0">
                <a:pos x="T10" y="T11"/>
              </a:cxn>
            </a:cxnLst>
            <a:rect l="0" t="0" r="r" b="b"/>
            <a:pathLst>
              <a:path w="91" h="91">
                <a:moveTo>
                  <a:pt x="45" y="91"/>
                </a:moveTo>
                <a:lnTo>
                  <a:pt x="45" y="91"/>
                </a:lnTo>
                <a:cubicBezTo>
                  <a:pt x="69" y="91"/>
                  <a:pt x="91" y="72"/>
                  <a:pt x="91" y="45"/>
                </a:cubicBezTo>
                <a:cubicBezTo>
                  <a:pt x="91" y="20"/>
                  <a:pt x="71" y="0"/>
                  <a:pt x="45" y="0"/>
                </a:cubicBezTo>
                <a:cubicBezTo>
                  <a:pt x="20" y="0"/>
                  <a:pt x="0" y="20"/>
                  <a:pt x="0" y="45"/>
                </a:cubicBezTo>
                <a:cubicBezTo>
                  <a:pt x="0" y="72"/>
                  <a:pt x="22" y="91"/>
                  <a:pt x="45" y="91"/>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81" name="Freeform 80"/>
          <p:cNvSpPr>
            <a:spLocks/>
          </p:cNvSpPr>
          <p:nvPr/>
        </p:nvSpPr>
        <p:spPr bwMode="auto">
          <a:xfrm>
            <a:off x="6054831" y="2986259"/>
            <a:ext cx="25745" cy="30895"/>
          </a:xfrm>
          <a:custGeom>
            <a:avLst/>
            <a:gdLst>
              <a:gd name="T0" fmla="*/ 2 w 38"/>
              <a:gd name="T1" fmla="*/ 11 h 46"/>
              <a:gd name="T2" fmla="*/ 2 w 38"/>
              <a:gd name="T3" fmla="*/ 11 h 46"/>
              <a:gd name="T4" fmla="*/ 3 w 38"/>
              <a:gd name="T5" fmla="*/ 2 h 46"/>
              <a:gd name="T6" fmla="*/ 12 w 38"/>
              <a:gd name="T7" fmla="*/ 3 h 46"/>
              <a:gd name="T8" fmla="*/ 36 w 38"/>
              <a:gd name="T9" fmla="*/ 35 h 46"/>
              <a:gd name="T10" fmla="*/ 35 w 38"/>
              <a:gd name="T11" fmla="*/ 43 h 46"/>
              <a:gd name="T12" fmla="*/ 26 w 38"/>
              <a:gd name="T13" fmla="*/ 42 h 46"/>
              <a:gd name="T14" fmla="*/ 2 w 38"/>
              <a:gd name="T15" fmla="*/ 11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6">
                <a:moveTo>
                  <a:pt x="2" y="11"/>
                </a:moveTo>
                <a:lnTo>
                  <a:pt x="2" y="11"/>
                </a:lnTo>
                <a:cubicBezTo>
                  <a:pt x="0" y="8"/>
                  <a:pt x="1" y="4"/>
                  <a:pt x="3" y="2"/>
                </a:cubicBezTo>
                <a:cubicBezTo>
                  <a:pt x="6" y="0"/>
                  <a:pt x="10" y="0"/>
                  <a:pt x="12" y="3"/>
                </a:cubicBezTo>
                <a:lnTo>
                  <a:pt x="36" y="35"/>
                </a:lnTo>
                <a:cubicBezTo>
                  <a:pt x="38" y="38"/>
                  <a:pt x="38" y="41"/>
                  <a:pt x="35" y="43"/>
                </a:cubicBezTo>
                <a:cubicBezTo>
                  <a:pt x="32" y="46"/>
                  <a:pt x="28" y="45"/>
                  <a:pt x="26" y="42"/>
                </a:cubicBezTo>
                <a:lnTo>
                  <a:pt x="2" y="11"/>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82" name="Freeform 81"/>
          <p:cNvSpPr>
            <a:spLocks/>
          </p:cNvSpPr>
          <p:nvPr/>
        </p:nvSpPr>
        <p:spPr bwMode="auto">
          <a:xfrm>
            <a:off x="6054831" y="2941976"/>
            <a:ext cx="8239" cy="52521"/>
          </a:xfrm>
          <a:custGeom>
            <a:avLst/>
            <a:gdLst>
              <a:gd name="T0" fmla="*/ 12 w 12"/>
              <a:gd name="T1" fmla="*/ 72 h 78"/>
              <a:gd name="T2" fmla="*/ 12 w 12"/>
              <a:gd name="T3" fmla="*/ 72 h 78"/>
              <a:gd name="T4" fmla="*/ 6 w 12"/>
              <a:gd name="T5" fmla="*/ 78 h 78"/>
              <a:gd name="T6" fmla="*/ 0 w 12"/>
              <a:gd name="T7" fmla="*/ 72 h 78"/>
              <a:gd name="T8" fmla="*/ 0 w 12"/>
              <a:gd name="T9" fmla="*/ 7 h 78"/>
              <a:gd name="T10" fmla="*/ 6 w 12"/>
              <a:gd name="T11" fmla="*/ 0 h 78"/>
              <a:gd name="T12" fmla="*/ 12 w 12"/>
              <a:gd name="T13" fmla="*/ 7 h 78"/>
              <a:gd name="T14" fmla="*/ 12 w 12"/>
              <a:gd name="T15" fmla="*/ 72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78">
                <a:moveTo>
                  <a:pt x="12" y="72"/>
                </a:moveTo>
                <a:lnTo>
                  <a:pt x="12" y="72"/>
                </a:lnTo>
                <a:cubicBezTo>
                  <a:pt x="12" y="75"/>
                  <a:pt x="9" y="78"/>
                  <a:pt x="6" y="78"/>
                </a:cubicBezTo>
                <a:cubicBezTo>
                  <a:pt x="3" y="78"/>
                  <a:pt x="0" y="75"/>
                  <a:pt x="0" y="72"/>
                </a:cubicBezTo>
                <a:lnTo>
                  <a:pt x="0" y="7"/>
                </a:lnTo>
                <a:cubicBezTo>
                  <a:pt x="0" y="3"/>
                  <a:pt x="3" y="0"/>
                  <a:pt x="6" y="0"/>
                </a:cubicBezTo>
                <a:cubicBezTo>
                  <a:pt x="9" y="0"/>
                  <a:pt x="12" y="3"/>
                  <a:pt x="12" y="7"/>
                </a:cubicBezTo>
                <a:lnTo>
                  <a:pt x="12" y="72"/>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83" name="Freeform 82"/>
          <p:cNvSpPr>
            <a:spLocks/>
          </p:cNvSpPr>
          <p:nvPr/>
        </p:nvSpPr>
        <p:spPr bwMode="auto">
          <a:xfrm>
            <a:off x="6000251" y="2858561"/>
            <a:ext cx="88564" cy="78266"/>
          </a:xfrm>
          <a:custGeom>
            <a:avLst/>
            <a:gdLst>
              <a:gd name="T0" fmla="*/ 114 w 129"/>
              <a:gd name="T1" fmla="*/ 106 h 115"/>
              <a:gd name="T2" fmla="*/ 114 w 129"/>
              <a:gd name="T3" fmla="*/ 106 h 115"/>
              <a:gd name="T4" fmla="*/ 92 w 129"/>
              <a:gd name="T5" fmla="*/ 109 h 115"/>
              <a:gd name="T6" fmla="*/ 7 w 129"/>
              <a:gd name="T7" fmla="*/ 43 h 115"/>
              <a:gd name="T8" fmla="*/ 36 w 129"/>
              <a:gd name="T9" fmla="*/ 6 h 115"/>
              <a:gd name="T10" fmla="*/ 121 w 129"/>
              <a:gd name="T11" fmla="*/ 72 h 115"/>
              <a:gd name="T12" fmla="*/ 124 w 129"/>
              <a:gd name="T13" fmla="*/ 94 h 115"/>
              <a:gd name="T14" fmla="*/ 114 w 129"/>
              <a:gd name="T15" fmla="*/ 106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15">
                <a:moveTo>
                  <a:pt x="114" y="106"/>
                </a:moveTo>
                <a:lnTo>
                  <a:pt x="114" y="106"/>
                </a:lnTo>
                <a:cubicBezTo>
                  <a:pt x="109" y="113"/>
                  <a:pt x="99" y="115"/>
                  <a:pt x="92" y="109"/>
                </a:cubicBezTo>
                <a:lnTo>
                  <a:pt x="7" y="43"/>
                </a:lnTo>
                <a:cubicBezTo>
                  <a:pt x="0" y="37"/>
                  <a:pt x="29" y="0"/>
                  <a:pt x="36" y="6"/>
                </a:cubicBezTo>
                <a:lnTo>
                  <a:pt x="121" y="72"/>
                </a:lnTo>
                <a:cubicBezTo>
                  <a:pt x="128" y="77"/>
                  <a:pt x="129" y="87"/>
                  <a:pt x="124" y="94"/>
                </a:cubicBezTo>
                <a:lnTo>
                  <a:pt x="114" y="106"/>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31789494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3"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 name="Rectangle 20"/>
          <p:cNvSpPr/>
          <p:nvPr/>
        </p:nvSpPr>
        <p:spPr>
          <a:xfrm>
            <a:off x="7286016" y="0"/>
            <a:ext cx="4905984" cy="685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4367"/>
            <a:endParaRPr lang="en-US" sz="1176" dirty="0">
              <a:solidFill>
                <a:srgbClr val="FFFFFF"/>
              </a:solidFill>
            </a:endParaRPr>
          </a:p>
        </p:txBody>
      </p:sp>
      <p:sp>
        <p:nvSpPr>
          <p:cNvPr id="81" name="TextBox 80"/>
          <p:cNvSpPr txBox="1"/>
          <p:nvPr/>
        </p:nvSpPr>
        <p:spPr>
          <a:xfrm>
            <a:off x="8528886" y="3063382"/>
            <a:ext cx="2420244" cy="215444"/>
          </a:xfrm>
          <a:prstGeom prst="rect">
            <a:avLst/>
          </a:prstGeom>
        </p:spPr>
        <p:txBody>
          <a:bodyPr wrap="square" lIns="0" tIns="0" rIns="0" bIns="0" rtlCol="0" anchor="ctr">
            <a:spAutoFit/>
          </a:bodyPr>
          <a:lstStyle/>
          <a:p>
            <a:pPr algn="ctr" defTabSz="896218">
              <a:defRPr/>
            </a:pPr>
            <a:r>
              <a:rPr lang="en-US" sz="1400" kern="0" dirty="0">
                <a:solidFill>
                  <a:srgbClr val="DC3C00"/>
                </a:solidFill>
                <a:latin typeface="Segoe UI Semibold" panose="020B0702040204020203" pitchFamily="34" charset="0"/>
                <a:cs typeface="Segoe UI Semibold" panose="020B0702040204020203" pitchFamily="34" charset="0"/>
              </a:rPr>
              <a:t>Power BI Pro</a:t>
            </a:r>
          </a:p>
        </p:txBody>
      </p:sp>
      <p:pic>
        <p:nvPicPr>
          <p:cNvPr id="83" name="Picture 8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38121" y="1353806"/>
            <a:ext cx="2601774" cy="1464320"/>
          </a:xfrm>
          <a:prstGeom prst="rect">
            <a:avLst/>
          </a:prstGeom>
          <a:ln>
            <a:solidFill>
              <a:schemeClr val="bg2"/>
            </a:solidFill>
          </a:ln>
        </p:spPr>
      </p:pic>
      <p:grpSp>
        <p:nvGrpSpPr>
          <p:cNvPr id="84" name="Group 83"/>
          <p:cNvGrpSpPr/>
          <p:nvPr/>
        </p:nvGrpSpPr>
        <p:grpSpPr>
          <a:xfrm>
            <a:off x="8321671" y="3737629"/>
            <a:ext cx="2834674" cy="1912313"/>
            <a:chOff x="8111876" y="4488487"/>
            <a:chExt cx="2834674" cy="1912313"/>
          </a:xfrm>
        </p:grpSpPr>
        <p:sp>
          <p:nvSpPr>
            <p:cNvPr id="85" name="TextBox 84"/>
            <p:cNvSpPr txBox="1"/>
            <p:nvPr/>
          </p:nvSpPr>
          <p:spPr>
            <a:xfrm>
              <a:off x="8111876" y="6185356"/>
              <a:ext cx="2834674" cy="215444"/>
            </a:xfrm>
            <a:prstGeom prst="rect">
              <a:avLst/>
            </a:prstGeom>
          </p:spPr>
          <p:txBody>
            <a:bodyPr wrap="square" lIns="0" tIns="0" rIns="0" bIns="0" rtlCol="0" anchor="ctr">
              <a:spAutoFit/>
            </a:bodyPr>
            <a:lstStyle/>
            <a:p>
              <a:pPr algn="ctr" defTabSz="896218">
                <a:defRPr/>
              </a:pPr>
              <a:r>
                <a:rPr lang="en-GB" sz="1400" dirty="0">
                  <a:solidFill>
                    <a:srgbClr val="DC3C00"/>
                  </a:solidFill>
                  <a:latin typeface="Segoe UI Semibold" panose="020B0702040204020203" pitchFamily="34" charset="0"/>
                  <a:cs typeface="Segoe UI Semibold" panose="020B0702040204020203" pitchFamily="34" charset="0"/>
                </a:rPr>
                <a:t>Delve Analytics</a:t>
              </a:r>
            </a:p>
          </p:txBody>
        </p:sp>
        <p:pic>
          <p:nvPicPr>
            <p:cNvPr id="86" name="Picture 85"/>
            <p:cNvPicPr>
              <a:picLocks noChangeAspect="1"/>
            </p:cNvPicPr>
            <p:nvPr/>
          </p:nvPicPr>
          <p:blipFill rotWithShape="1">
            <a:blip r:embed="rId8"/>
            <a:srcRect b="18843"/>
            <a:stretch/>
          </p:blipFill>
          <p:spPr>
            <a:xfrm>
              <a:off x="8237733" y="4488487"/>
              <a:ext cx="2563618" cy="1441452"/>
            </a:xfrm>
            <a:prstGeom prst="rect">
              <a:avLst/>
            </a:prstGeom>
            <a:ln>
              <a:solidFill>
                <a:schemeClr val="bg2"/>
              </a:solidFill>
            </a:ln>
          </p:spPr>
        </p:pic>
      </p:grpSp>
      <p:sp>
        <p:nvSpPr>
          <p:cNvPr id="2" name="Title 1"/>
          <p:cNvSpPr>
            <a:spLocks noGrp="1"/>
          </p:cNvSpPr>
          <p:nvPr>
            <p:ph type="title"/>
          </p:nvPr>
        </p:nvSpPr>
        <p:spPr/>
        <p:txBody>
          <a:bodyPr/>
          <a:lstStyle/>
          <a:p>
            <a:r>
              <a:rPr lang="en-US"/>
              <a:t>Analytics</a:t>
            </a:r>
            <a:endParaRPr lang="en-US" dirty="0"/>
          </a:p>
        </p:txBody>
      </p:sp>
      <p:sp>
        <p:nvSpPr>
          <p:cNvPr id="24" name="Rectangle 23"/>
          <p:cNvSpPr/>
          <p:nvPr/>
        </p:nvSpPr>
        <p:spPr bwMode="auto">
          <a:xfrm>
            <a:off x="0" y="1405950"/>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defTabSz="896010">
              <a:spcAft>
                <a:spcPts val="200"/>
              </a:spcAft>
              <a:defRPr/>
            </a:pPr>
            <a:r>
              <a:rPr lang="en-GB" sz="2000" kern="0" dirty="0">
                <a:solidFill>
                  <a:schemeClr val="tx2"/>
                </a:solidFill>
                <a:latin typeface="Segoe UI Semibold" panose="020B0702040204020203" pitchFamily="34" charset="0"/>
                <a:cs typeface="Segoe UI Semibold" panose="020B0702040204020203" pitchFamily="34" charset="0"/>
              </a:rPr>
              <a:t>Power BI Pro</a:t>
            </a:r>
          </a:p>
          <a:p>
            <a:pPr marL="285750" indent="-179388" defTabSz="896218">
              <a:spcBef>
                <a:spcPts val="600"/>
              </a:spcBef>
              <a:spcAft>
                <a:spcPts val="300"/>
              </a:spcAft>
              <a:buFont typeface="Arial" panose="020B0604020202020204" pitchFamily="34" charset="0"/>
              <a:buChar char="•"/>
              <a:defRPr/>
            </a:pPr>
            <a:r>
              <a:rPr lang="en-US" sz="1400" kern="0" dirty="0">
                <a:solidFill>
                  <a:srgbClr val="797A7D"/>
                </a:solidFill>
              </a:rPr>
              <a:t>Gain fast, easy access to the data you need with a simple intuitive experience</a:t>
            </a:r>
          </a:p>
          <a:p>
            <a:pPr marL="285750" indent="-179388" defTabSz="896218">
              <a:spcBef>
                <a:spcPts val="300"/>
              </a:spcBef>
              <a:spcAft>
                <a:spcPts val="300"/>
              </a:spcAft>
              <a:buFont typeface="Arial" panose="020B0604020202020204" pitchFamily="34" charset="0"/>
              <a:buChar char="•"/>
              <a:defRPr/>
            </a:pPr>
            <a:r>
              <a:rPr lang="en-US" sz="1400" kern="0" dirty="0">
                <a:solidFill>
                  <a:srgbClr val="797A7D"/>
                </a:solidFill>
              </a:rPr>
              <a:t>Access a live, 360º view of your business through a single dashboard</a:t>
            </a:r>
          </a:p>
          <a:p>
            <a:pPr marL="285750" indent="-179388" defTabSz="896218">
              <a:spcBef>
                <a:spcPts val="300"/>
              </a:spcBef>
              <a:spcAft>
                <a:spcPts val="300"/>
              </a:spcAft>
              <a:buFont typeface="Arial" panose="020B0604020202020204" pitchFamily="34" charset="0"/>
              <a:buChar char="•"/>
              <a:defRPr/>
            </a:pPr>
            <a:r>
              <a:rPr lang="en-US" sz="1400" kern="0" dirty="0">
                <a:solidFill>
                  <a:srgbClr val="797A7D"/>
                </a:solidFill>
              </a:rPr>
              <a:t>Discover new insights by exploring your data with rich visualizations</a:t>
            </a:r>
          </a:p>
        </p:txBody>
      </p:sp>
      <p:sp>
        <p:nvSpPr>
          <p:cNvPr id="25" name="Rectangle 24"/>
          <p:cNvSpPr/>
          <p:nvPr/>
        </p:nvSpPr>
        <p:spPr bwMode="auto">
          <a:xfrm>
            <a:off x="0" y="2869325"/>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defTabSz="896010">
              <a:spcAft>
                <a:spcPts val="200"/>
              </a:spcAft>
              <a:defRPr/>
            </a:pPr>
            <a:r>
              <a:rPr lang="en-GB" sz="2000" kern="0" dirty="0">
                <a:solidFill>
                  <a:schemeClr val="tx2"/>
                </a:solidFill>
                <a:latin typeface="Segoe UI Semibold" panose="020B0702040204020203" pitchFamily="34" charset="0"/>
                <a:cs typeface="Segoe UI Semibold" panose="020B0702040204020203" pitchFamily="34" charset="0"/>
              </a:rPr>
              <a:t>Delve Analytics</a:t>
            </a:r>
          </a:p>
          <a:p>
            <a:pPr marL="285750" lvl="0" indent="-179388" defTabSz="896218">
              <a:spcAft>
                <a:spcPts val="300"/>
              </a:spcAft>
              <a:buFont typeface="Arial" panose="020B0604020202020204" pitchFamily="34" charset="0"/>
              <a:buChar char="•"/>
              <a:defRPr/>
            </a:pPr>
            <a:r>
              <a:rPr lang="en-US" sz="1400" kern="0" dirty="0">
                <a:solidFill>
                  <a:srgbClr val="797A7D"/>
                </a:solidFill>
              </a:rPr>
              <a:t>Leverage personal analytics to improve individual effectiveness</a:t>
            </a:r>
          </a:p>
          <a:p>
            <a:pPr marL="285750" lvl="0" indent="-179388" defTabSz="896218">
              <a:spcAft>
                <a:spcPts val="300"/>
              </a:spcAft>
              <a:buFont typeface="Arial" panose="020B0604020202020204" pitchFamily="34" charset="0"/>
              <a:buChar char="•"/>
              <a:defRPr/>
            </a:pPr>
            <a:r>
              <a:rPr lang="en-US" sz="1400" kern="0" dirty="0">
                <a:solidFill>
                  <a:srgbClr val="797A7D"/>
                </a:solidFill>
              </a:rPr>
              <a:t>Use the Outlook add-in to understand email reach and impact</a:t>
            </a:r>
          </a:p>
          <a:p>
            <a:pPr marL="285750" lvl="0" indent="-179388" defTabSz="896218">
              <a:spcAft>
                <a:spcPts val="300"/>
              </a:spcAft>
              <a:buFont typeface="Arial" panose="020B0604020202020204" pitchFamily="34" charset="0"/>
              <a:buChar char="•"/>
              <a:defRPr/>
            </a:pPr>
            <a:r>
              <a:rPr lang="en-US" sz="1400" kern="0" dirty="0">
                <a:solidFill>
                  <a:srgbClr val="797A7D"/>
                </a:solidFill>
              </a:rPr>
              <a:t>Identify top collaborators and understand collaboration trends</a:t>
            </a:r>
          </a:p>
        </p:txBody>
      </p:sp>
      <p:cxnSp>
        <p:nvCxnSpPr>
          <p:cNvPr id="37" name="Straight Connector 36"/>
          <p:cNvCxnSpPr/>
          <p:nvPr/>
        </p:nvCxnSpPr>
        <p:spPr>
          <a:xfrm>
            <a:off x="540126" y="1853045"/>
            <a:ext cx="6333113"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03028" y="3272804"/>
            <a:ext cx="6370211"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393555" y="3346823"/>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9393555" y="5758265"/>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24964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7"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0" y="0"/>
            <a:ext cx="5326380" cy="6858000"/>
          </a:xfrm>
          <a:prstGeom prst="rect">
            <a:avLst/>
          </a:prstGeom>
        </p:spPr>
      </p:pic>
      <p:sp>
        <p:nvSpPr>
          <p:cNvPr id="29" name="Rectangle 28"/>
          <p:cNvSpPr/>
          <p:nvPr/>
        </p:nvSpPr>
        <p:spPr bwMode="auto">
          <a:xfrm>
            <a:off x="1" y="4586957"/>
            <a:ext cx="5326380" cy="2271044"/>
          </a:xfrm>
          <a:prstGeom prst="rect">
            <a:avLst/>
          </a:prstGeom>
          <a:gradFill flip="none" rotWithShape="1">
            <a:gsLst>
              <a:gs pos="0">
                <a:schemeClr val="tx1">
                  <a:alpha val="0"/>
                </a:schemeClr>
              </a:gs>
              <a:gs pos="51111">
                <a:srgbClr val="000000">
                  <a:alpha val="48000"/>
                </a:srgbClr>
              </a:gs>
              <a:gs pos="100000">
                <a:schemeClr val="tx1">
                  <a:alpha val="71000"/>
                </a:schemeClr>
              </a:gs>
            </a:gsLst>
            <a:lin ang="5400000" scaled="1"/>
            <a:tileRect/>
          </a:gra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none" lIns="0" tIns="0" rIns="0" bIns="274320" rtlCol="0" anchor="b" anchorCtr="0"/>
          <a:lstStyle/>
          <a:p>
            <a:pPr algn="ctr" defTabSz="913861">
              <a:spcAft>
                <a:spcPts val="600"/>
              </a:spcAft>
            </a:pPr>
            <a:r>
              <a:rPr lang="en-US" sz="4400" kern="0" dirty="0">
                <a:solidFill>
                  <a:schemeClr val="accent1"/>
                </a:solidFill>
              </a:rPr>
              <a:t>100 million</a:t>
            </a:r>
            <a:br>
              <a:rPr lang="en-US" sz="4400" kern="0" dirty="0">
                <a:solidFill>
                  <a:schemeClr val="accent1"/>
                </a:solidFill>
              </a:rPr>
            </a:br>
            <a:r>
              <a:rPr lang="en-US" sz="2000" kern="0" dirty="0">
                <a:solidFill>
                  <a:schemeClr val="bg1"/>
                </a:solidFill>
              </a:rPr>
              <a:t>meetings conducted each month </a:t>
            </a:r>
            <a:br>
              <a:rPr lang="en-US" sz="2000" kern="0" dirty="0">
                <a:solidFill>
                  <a:schemeClr val="bg1"/>
                </a:solidFill>
              </a:rPr>
            </a:br>
            <a:r>
              <a:rPr lang="en-US" sz="2000" kern="0" dirty="0">
                <a:solidFill>
                  <a:schemeClr val="bg1"/>
                </a:solidFill>
              </a:rPr>
              <a:t>using Skype services</a:t>
            </a:r>
          </a:p>
        </p:txBody>
      </p:sp>
      <p:sp>
        <p:nvSpPr>
          <p:cNvPr id="3" name="Title 2"/>
          <p:cNvSpPr>
            <a:spLocks noGrp="1"/>
          </p:cNvSpPr>
          <p:nvPr>
            <p:ph type="title"/>
          </p:nvPr>
        </p:nvSpPr>
        <p:spPr>
          <a:xfrm>
            <a:off x="5704115" y="191249"/>
            <a:ext cx="6221184" cy="1066460"/>
          </a:xfrm>
        </p:spPr>
        <p:txBody>
          <a:bodyPr lIns="0"/>
          <a:lstStyle/>
          <a:p>
            <a:r>
              <a:rPr lang="en-US" dirty="0"/>
              <a:t>Voice</a:t>
            </a:r>
          </a:p>
        </p:txBody>
      </p:sp>
      <p:sp>
        <p:nvSpPr>
          <p:cNvPr id="68" name="Slide Number Placeholder 67"/>
          <p:cNvSpPr>
            <a:spLocks noGrp="1"/>
          </p:cNvSpPr>
          <p:nvPr>
            <p:ph type="sldNum" sz="quarter" idx="15"/>
          </p:nvPr>
        </p:nvSpPr>
        <p:spPr/>
        <p:txBody>
          <a:bodyPr/>
          <a:lstStyle/>
          <a:p>
            <a:r>
              <a:rPr lang="en-US" dirty="0">
                <a:solidFill>
                  <a:srgbClr val="505050"/>
                </a:solidFill>
              </a:rPr>
              <a:t> </a:t>
            </a:r>
          </a:p>
        </p:txBody>
      </p:sp>
      <p:sp>
        <p:nvSpPr>
          <p:cNvPr id="75" name="TextBox 74"/>
          <p:cNvSpPr txBox="1"/>
          <p:nvPr/>
        </p:nvSpPr>
        <p:spPr>
          <a:xfrm>
            <a:off x="5757101" y="945088"/>
            <a:ext cx="6004914" cy="546100"/>
          </a:xfrm>
          <a:prstGeom prst="rect">
            <a:avLst/>
          </a:prstGeom>
          <a:noFill/>
        </p:spPr>
        <p:txBody>
          <a:bodyPr vert="horz" wrap="square" lIns="0" tIns="91440" rIns="91440" bIns="91440" rtlCol="0" anchor="ctr">
            <a:noAutofit/>
          </a:bodyPr>
          <a:lstStyle/>
          <a:p>
            <a:r>
              <a:rPr lang="en-US" sz="2800" kern="0" dirty="0">
                <a:solidFill>
                  <a:schemeClr val="tx1">
                    <a:lumMod val="75000"/>
                    <a:lumOff val="25000"/>
                  </a:schemeClr>
                </a:solidFill>
                <a:latin typeface="+mj-lt"/>
                <a:cs typeface="Segoe UI Semibold" panose="020B0702040204020203" pitchFamily="34" charset="0"/>
              </a:rPr>
              <a:t>Complete Cloud Communication</a:t>
            </a:r>
          </a:p>
        </p:txBody>
      </p:sp>
      <p:sp>
        <p:nvSpPr>
          <p:cNvPr id="38" name="Rectangle 41"/>
          <p:cNvSpPr/>
          <p:nvPr/>
        </p:nvSpPr>
        <p:spPr>
          <a:xfrm>
            <a:off x="6434729" y="1706540"/>
            <a:ext cx="5582013" cy="711741"/>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Provide one platform for meetings and voice</a:t>
            </a:r>
          </a:p>
        </p:txBody>
      </p:sp>
      <p:sp>
        <p:nvSpPr>
          <p:cNvPr id="40" name="Rectangle 42"/>
          <p:cNvSpPr/>
          <p:nvPr/>
        </p:nvSpPr>
        <p:spPr>
          <a:xfrm>
            <a:off x="6434729" y="2604316"/>
            <a:ext cx="5582013" cy="698550"/>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Reduce voice and conferencing costs</a:t>
            </a:r>
          </a:p>
        </p:txBody>
      </p:sp>
      <p:sp>
        <p:nvSpPr>
          <p:cNvPr id="41" name="Rectangle 43"/>
          <p:cNvSpPr/>
          <p:nvPr/>
        </p:nvSpPr>
        <p:spPr>
          <a:xfrm>
            <a:off x="6434729" y="3488900"/>
            <a:ext cx="5518706" cy="698550"/>
          </a:xfrm>
          <a:prstGeom prst="rect">
            <a:avLst/>
          </a:prstGeom>
          <a:solidFill>
            <a:schemeClr val="bg1">
              <a:lumMod val="95000"/>
              <a:alpha val="90000"/>
            </a:schemeClr>
          </a:solidFill>
          <a:ln w="10795" cap="flat" cmpd="sng" algn="ctr">
            <a:noFill/>
            <a:prstDash val="solid"/>
          </a:ln>
          <a:effectLst/>
        </p:spPr>
        <p:txBody>
          <a:bodyPr lIns="91440" tIns="0" rIns="89642" bIns="0" rtlCol="0" anchor="ctr" anchorCtr="0"/>
          <a:lstStyle/>
          <a:p>
            <a:pPr defTabSz="896218">
              <a:defRPr/>
            </a:pPr>
            <a:r>
              <a:rPr lang="en-US" kern="0" dirty="0">
                <a:solidFill>
                  <a:schemeClr val="tx1">
                    <a:lumMod val="75000"/>
                    <a:lumOff val="25000"/>
                  </a:schemeClr>
                </a:solidFill>
              </a:rPr>
              <a:t>Connect to meetings and each other from virtually anywhere, on any device </a:t>
            </a:r>
          </a:p>
        </p:txBody>
      </p:sp>
      <p:sp>
        <p:nvSpPr>
          <p:cNvPr id="42" name="Freeform 41"/>
          <p:cNvSpPr/>
          <p:nvPr/>
        </p:nvSpPr>
        <p:spPr>
          <a:xfrm>
            <a:off x="6042990" y="1569264"/>
            <a:ext cx="5693397" cy="2447160"/>
          </a:xfrm>
          <a:custGeom>
            <a:avLst/>
            <a:gdLst>
              <a:gd name="connsiteX0" fmla="*/ 6235700 w 6235700"/>
              <a:gd name="connsiteY0" fmla="*/ 0 h 2946400"/>
              <a:gd name="connsiteX1" fmla="*/ 0 w 6235700"/>
              <a:gd name="connsiteY1" fmla="*/ 0 h 2946400"/>
              <a:gd name="connsiteX2" fmla="*/ 0 w 6235700"/>
              <a:gd name="connsiteY2" fmla="*/ 2946400 h 2946400"/>
            </a:gdLst>
            <a:ahLst/>
            <a:cxnLst>
              <a:cxn ang="0">
                <a:pos x="connsiteX0" y="connsiteY0"/>
              </a:cxn>
              <a:cxn ang="0">
                <a:pos x="connsiteX1" y="connsiteY1"/>
              </a:cxn>
              <a:cxn ang="0">
                <a:pos x="connsiteX2" y="connsiteY2"/>
              </a:cxn>
            </a:cxnLst>
            <a:rect l="l" t="t" r="r" b="b"/>
            <a:pathLst>
              <a:path w="6235700" h="2946400">
                <a:moveTo>
                  <a:pt x="6235700" y="0"/>
                </a:moveTo>
                <a:lnTo>
                  <a:pt x="0" y="0"/>
                </a:lnTo>
                <a:lnTo>
                  <a:pt x="0" y="2946400"/>
                </a:lnTo>
              </a:path>
            </a:pathLst>
          </a:custGeom>
          <a:ln w="2857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dirty="0"/>
          </a:p>
        </p:txBody>
      </p:sp>
      <p:sp>
        <p:nvSpPr>
          <p:cNvPr id="43" name="Diamond 42"/>
          <p:cNvSpPr/>
          <p:nvPr/>
        </p:nvSpPr>
        <p:spPr>
          <a:xfrm>
            <a:off x="5731551" y="1747629"/>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44" name="Diamond 43"/>
          <p:cNvSpPr/>
          <p:nvPr/>
        </p:nvSpPr>
        <p:spPr>
          <a:xfrm>
            <a:off x="5731551" y="2634191"/>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45" name="Diamond 44"/>
          <p:cNvSpPr/>
          <p:nvPr/>
        </p:nvSpPr>
        <p:spPr>
          <a:xfrm>
            <a:off x="5731551" y="3520753"/>
            <a:ext cx="629558" cy="629556"/>
          </a:xfrm>
          <a:prstGeom prst="diamond">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65" name="Trapezoid 39"/>
          <p:cNvSpPr/>
          <p:nvPr/>
        </p:nvSpPr>
        <p:spPr bwMode="auto">
          <a:xfrm>
            <a:off x="5885923" y="1916303"/>
            <a:ext cx="292513" cy="262272"/>
          </a:xfrm>
          <a:custGeom>
            <a:avLst/>
            <a:gdLst/>
            <a:ahLst/>
            <a:cxnLst/>
            <a:rect l="l" t="t" r="r" b="b"/>
            <a:pathLst>
              <a:path w="1589176" h="1501908">
                <a:moveTo>
                  <a:pt x="1395801" y="708334"/>
                </a:moveTo>
                <a:lnTo>
                  <a:pt x="1543748" y="708334"/>
                </a:lnTo>
                <a:cubicBezTo>
                  <a:pt x="1564175" y="708334"/>
                  <a:pt x="1580735" y="724894"/>
                  <a:pt x="1580735" y="745322"/>
                </a:cubicBezTo>
                <a:cubicBezTo>
                  <a:pt x="1568893" y="929695"/>
                  <a:pt x="1560400" y="1053780"/>
                  <a:pt x="1546969" y="1253513"/>
                </a:cubicBezTo>
                <a:lnTo>
                  <a:pt x="1373308" y="993043"/>
                </a:lnTo>
                <a:cubicBezTo>
                  <a:pt x="1368494" y="907260"/>
                  <a:pt x="1363654" y="836193"/>
                  <a:pt x="1358813" y="745322"/>
                </a:cubicBezTo>
                <a:cubicBezTo>
                  <a:pt x="1358813" y="724894"/>
                  <a:pt x="1375373" y="708334"/>
                  <a:pt x="1395801" y="708334"/>
                </a:cubicBezTo>
                <a:close/>
                <a:moveTo>
                  <a:pt x="45429" y="708334"/>
                </a:moveTo>
                <a:lnTo>
                  <a:pt x="193376" y="708334"/>
                </a:lnTo>
                <a:cubicBezTo>
                  <a:pt x="213803" y="708334"/>
                  <a:pt x="230363" y="724894"/>
                  <a:pt x="230363" y="745322"/>
                </a:cubicBezTo>
                <a:cubicBezTo>
                  <a:pt x="225522" y="836193"/>
                  <a:pt x="220682" y="907260"/>
                  <a:pt x="215869" y="993043"/>
                </a:cubicBezTo>
                <a:lnTo>
                  <a:pt x="42208" y="1253513"/>
                </a:lnTo>
                <a:cubicBezTo>
                  <a:pt x="28776" y="1053780"/>
                  <a:pt x="20283" y="929695"/>
                  <a:pt x="8441" y="745322"/>
                </a:cubicBezTo>
                <a:cubicBezTo>
                  <a:pt x="8441" y="724894"/>
                  <a:pt x="25001" y="708334"/>
                  <a:pt x="45429" y="708334"/>
                </a:cubicBezTo>
                <a:close/>
                <a:moveTo>
                  <a:pt x="559319" y="594198"/>
                </a:moveTo>
                <a:lnTo>
                  <a:pt x="1029857" y="594198"/>
                </a:lnTo>
                <a:lnTo>
                  <a:pt x="1559738" y="1388956"/>
                </a:lnTo>
                <a:lnTo>
                  <a:pt x="1559738" y="1501908"/>
                </a:lnTo>
                <a:lnTo>
                  <a:pt x="29438" y="1501908"/>
                </a:lnTo>
                <a:lnTo>
                  <a:pt x="29438" y="1388956"/>
                </a:lnTo>
                <a:close/>
                <a:moveTo>
                  <a:pt x="1171481" y="473925"/>
                </a:moveTo>
                <a:lnTo>
                  <a:pt x="1282777" y="473925"/>
                </a:lnTo>
                <a:cubicBezTo>
                  <a:pt x="1298144" y="473925"/>
                  <a:pt x="1310601" y="486382"/>
                  <a:pt x="1310601" y="501750"/>
                </a:cubicBezTo>
                <a:cubicBezTo>
                  <a:pt x="1302116" y="633861"/>
                  <a:pt x="1295916" y="724825"/>
                  <a:pt x="1286615" y="863013"/>
                </a:cubicBezTo>
                <a:lnTo>
                  <a:pt x="1153100" y="662756"/>
                </a:lnTo>
                <a:cubicBezTo>
                  <a:pt x="1149965" y="609012"/>
                  <a:pt x="1146811" y="560971"/>
                  <a:pt x="1143656" y="501750"/>
                </a:cubicBezTo>
                <a:cubicBezTo>
                  <a:pt x="1143656" y="486382"/>
                  <a:pt x="1156113" y="473925"/>
                  <a:pt x="1171481" y="473925"/>
                </a:cubicBezTo>
                <a:close/>
                <a:moveTo>
                  <a:pt x="306401" y="473925"/>
                </a:moveTo>
                <a:lnTo>
                  <a:pt x="417697" y="473925"/>
                </a:lnTo>
                <a:cubicBezTo>
                  <a:pt x="433064" y="473925"/>
                  <a:pt x="445521" y="486382"/>
                  <a:pt x="445521" y="501750"/>
                </a:cubicBezTo>
                <a:cubicBezTo>
                  <a:pt x="442367" y="560971"/>
                  <a:pt x="439212" y="609012"/>
                  <a:pt x="436078" y="662756"/>
                </a:cubicBezTo>
                <a:lnTo>
                  <a:pt x="302562" y="863013"/>
                </a:lnTo>
                <a:cubicBezTo>
                  <a:pt x="293261" y="724825"/>
                  <a:pt x="287062" y="633861"/>
                  <a:pt x="278576" y="501750"/>
                </a:cubicBezTo>
                <a:cubicBezTo>
                  <a:pt x="278576" y="486382"/>
                  <a:pt x="291034" y="473925"/>
                  <a:pt x="306401" y="473925"/>
                </a:cubicBezTo>
                <a:close/>
                <a:moveTo>
                  <a:pt x="1469774" y="440696"/>
                </a:moveTo>
                <a:cubicBezTo>
                  <a:pt x="1535718" y="440696"/>
                  <a:pt x="1589176" y="494154"/>
                  <a:pt x="1589176" y="560098"/>
                </a:cubicBezTo>
                <a:cubicBezTo>
                  <a:pt x="1589176" y="626042"/>
                  <a:pt x="1535718" y="679500"/>
                  <a:pt x="1469774" y="679500"/>
                </a:cubicBezTo>
                <a:cubicBezTo>
                  <a:pt x="1403830" y="679500"/>
                  <a:pt x="1350372" y="626042"/>
                  <a:pt x="1350372" y="560098"/>
                </a:cubicBezTo>
                <a:cubicBezTo>
                  <a:pt x="1350372" y="494154"/>
                  <a:pt x="1403830" y="440696"/>
                  <a:pt x="1469774" y="440696"/>
                </a:cubicBezTo>
                <a:close/>
                <a:moveTo>
                  <a:pt x="119402" y="440696"/>
                </a:moveTo>
                <a:cubicBezTo>
                  <a:pt x="185346" y="440696"/>
                  <a:pt x="238804" y="494154"/>
                  <a:pt x="238804" y="560098"/>
                </a:cubicBezTo>
                <a:cubicBezTo>
                  <a:pt x="238804" y="626042"/>
                  <a:pt x="185346" y="679500"/>
                  <a:pt x="119402" y="679500"/>
                </a:cubicBezTo>
                <a:cubicBezTo>
                  <a:pt x="53458" y="679500"/>
                  <a:pt x="0" y="626042"/>
                  <a:pt x="0" y="560098"/>
                </a:cubicBezTo>
                <a:cubicBezTo>
                  <a:pt x="0" y="494154"/>
                  <a:pt x="53458" y="440696"/>
                  <a:pt x="119402" y="440696"/>
                </a:cubicBezTo>
                <a:close/>
                <a:moveTo>
                  <a:pt x="950289" y="310397"/>
                </a:moveTo>
                <a:lnTo>
                  <a:pt x="945215" y="352170"/>
                </a:lnTo>
                <a:lnTo>
                  <a:pt x="983768" y="352170"/>
                </a:lnTo>
                <a:close/>
                <a:moveTo>
                  <a:pt x="718811" y="310397"/>
                </a:moveTo>
                <a:lnTo>
                  <a:pt x="685332" y="352170"/>
                </a:lnTo>
                <a:lnTo>
                  <a:pt x="723885" y="352170"/>
                </a:lnTo>
                <a:close/>
                <a:moveTo>
                  <a:pt x="758469" y="270388"/>
                </a:moveTo>
                <a:lnTo>
                  <a:pt x="765791" y="352170"/>
                </a:lnTo>
                <a:lnTo>
                  <a:pt x="786363" y="352170"/>
                </a:lnTo>
                <a:cubicBezTo>
                  <a:pt x="805240" y="352170"/>
                  <a:pt x="820543" y="367473"/>
                  <a:pt x="820543" y="386350"/>
                </a:cubicBezTo>
                <a:cubicBezTo>
                  <a:pt x="820543" y="405227"/>
                  <a:pt x="805240" y="420530"/>
                  <a:pt x="786363" y="420530"/>
                </a:cubicBezTo>
                <a:lnTo>
                  <a:pt x="771910" y="420530"/>
                </a:lnTo>
                <a:lnTo>
                  <a:pt x="776067" y="466957"/>
                </a:lnTo>
                <a:lnTo>
                  <a:pt x="893034" y="466957"/>
                </a:lnTo>
                <a:lnTo>
                  <a:pt x="897190" y="420530"/>
                </a:lnTo>
                <a:lnTo>
                  <a:pt x="882737" y="420530"/>
                </a:lnTo>
                <a:cubicBezTo>
                  <a:pt x="863860" y="420530"/>
                  <a:pt x="848557" y="405227"/>
                  <a:pt x="848557" y="386350"/>
                </a:cubicBezTo>
                <a:cubicBezTo>
                  <a:pt x="848557" y="367473"/>
                  <a:pt x="863860" y="352170"/>
                  <a:pt x="882737" y="352170"/>
                </a:cubicBezTo>
                <a:lnTo>
                  <a:pt x="903310" y="352170"/>
                </a:lnTo>
                <a:lnTo>
                  <a:pt x="910631" y="270388"/>
                </a:lnTo>
                <a:close/>
                <a:moveTo>
                  <a:pt x="1227128" y="267888"/>
                </a:moveTo>
                <a:cubicBezTo>
                  <a:pt x="1276735" y="267888"/>
                  <a:pt x="1316950" y="308103"/>
                  <a:pt x="1316950" y="357710"/>
                </a:cubicBezTo>
                <a:cubicBezTo>
                  <a:pt x="1316950" y="407317"/>
                  <a:pt x="1276735" y="447532"/>
                  <a:pt x="1227128" y="447532"/>
                </a:cubicBezTo>
                <a:cubicBezTo>
                  <a:pt x="1177521" y="447532"/>
                  <a:pt x="1137306" y="407317"/>
                  <a:pt x="1137306" y="357710"/>
                </a:cubicBezTo>
                <a:cubicBezTo>
                  <a:pt x="1137306" y="308103"/>
                  <a:pt x="1177521" y="267888"/>
                  <a:pt x="1227128" y="267888"/>
                </a:cubicBezTo>
                <a:close/>
                <a:moveTo>
                  <a:pt x="362048" y="267888"/>
                </a:moveTo>
                <a:cubicBezTo>
                  <a:pt x="411655" y="267888"/>
                  <a:pt x="451870" y="308103"/>
                  <a:pt x="451870" y="357710"/>
                </a:cubicBezTo>
                <a:cubicBezTo>
                  <a:pt x="451870" y="407317"/>
                  <a:pt x="411655" y="447532"/>
                  <a:pt x="362048" y="447532"/>
                </a:cubicBezTo>
                <a:cubicBezTo>
                  <a:pt x="312441" y="447532"/>
                  <a:pt x="272226" y="407317"/>
                  <a:pt x="272226" y="357710"/>
                </a:cubicBezTo>
                <a:cubicBezTo>
                  <a:pt x="272226" y="308103"/>
                  <a:pt x="312441" y="267888"/>
                  <a:pt x="362048" y="267888"/>
                </a:cubicBezTo>
                <a:close/>
                <a:moveTo>
                  <a:pt x="761714" y="201210"/>
                </a:moveTo>
                <a:lnTo>
                  <a:pt x="909541" y="202064"/>
                </a:lnTo>
                <a:cubicBezTo>
                  <a:pt x="934322" y="202919"/>
                  <a:pt x="936885" y="208901"/>
                  <a:pt x="942012" y="214882"/>
                </a:cubicBezTo>
                <a:lnTo>
                  <a:pt x="1058712" y="353670"/>
                </a:lnTo>
                <a:cubicBezTo>
                  <a:pt x="1068966" y="364658"/>
                  <a:pt x="1071529" y="379064"/>
                  <a:pt x="1071529" y="384070"/>
                </a:cubicBezTo>
                <a:cubicBezTo>
                  <a:pt x="1071529" y="404206"/>
                  <a:pt x="1055206" y="420530"/>
                  <a:pt x="1035070" y="420530"/>
                </a:cubicBezTo>
                <a:lnTo>
                  <a:pt x="990309" y="420530"/>
                </a:lnTo>
                <a:lnTo>
                  <a:pt x="936910" y="420530"/>
                </a:lnTo>
                <a:lnTo>
                  <a:pt x="924004" y="526770"/>
                </a:lnTo>
                <a:lnTo>
                  <a:pt x="745096" y="526770"/>
                </a:lnTo>
                <a:lnTo>
                  <a:pt x="732190" y="420530"/>
                </a:lnTo>
                <a:lnTo>
                  <a:pt x="678791" y="420530"/>
                </a:lnTo>
                <a:lnTo>
                  <a:pt x="634029" y="420530"/>
                </a:lnTo>
                <a:cubicBezTo>
                  <a:pt x="613894" y="420530"/>
                  <a:pt x="597570" y="404206"/>
                  <a:pt x="597570" y="384070"/>
                </a:cubicBezTo>
                <a:cubicBezTo>
                  <a:pt x="597855" y="373937"/>
                  <a:pt x="599849" y="367221"/>
                  <a:pt x="608679" y="355380"/>
                </a:cubicBezTo>
                <a:lnTo>
                  <a:pt x="724970" y="214882"/>
                </a:lnTo>
                <a:cubicBezTo>
                  <a:pt x="732091" y="207762"/>
                  <a:pt x="738358" y="201495"/>
                  <a:pt x="761714" y="201210"/>
                </a:cubicBezTo>
                <a:close/>
                <a:moveTo>
                  <a:pt x="834550" y="0"/>
                </a:moveTo>
                <a:cubicBezTo>
                  <a:pt x="885282" y="0"/>
                  <a:pt x="926408" y="41126"/>
                  <a:pt x="926408" y="91858"/>
                </a:cubicBezTo>
                <a:cubicBezTo>
                  <a:pt x="926408" y="142590"/>
                  <a:pt x="885282" y="183716"/>
                  <a:pt x="834550" y="183716"/>
                </a:cubicBezTo>
                <a:cubicBezTo>
                  <a:pt x="783818" y="183716"/>
                  <a:pt x="742692" y="142590"/>
                  <a:pt x="742692" y="91858"/>
                </a:cubicBezTo>
                <a:cubicBezTo>
                  <a:pt x="742692" y="41126"/>
                  <a:pt x="783818" y="0"/>
                  <a:pt x="83455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66" name="Freeform 65"/>
          <p:cNvSpPr/>
          <p:nvPr/>
        </p:nvSpPr>
        <p:spPr bwMode="auto">
          <a:xfrm>
            <a:off x="5853761" y="2834466"/>
            <a:ext cx="363862" cy="208564"/>
          </a:xfrm>
          <a:custGeom>
            <a:avLst/>
            <a:gdLst>
              <a:gd name="connsiteX0" fmla="*/ 2775723 w 3507576"/>
              <a:gd name="connsiteY0" fmla="*/ 1075848 h 2010525"/>
              <a:gd name="connsiteX1" fmla="*/ 2907808 w 3507576"/>
              <a:gd name="connsiteY1" fmla="*/ 1207932 h 2010525"/>
              <a:gd name="connsiteX2" fmla="*/ 2775723 w 3507576"/>
              <a:gd name="connsiteY2" fmla="*/ 1340016 h 2010525"/>
              <a:gd name="connsiteX3" fmla="*/ 2643639 w 3507576"/>
              <a:gd name="connsiteY3" fmla="*/ 1207932 h 2010525"/>
              <a:gd name="connsiteX4" fmla="*/ 2775723 w 3507576"/>
              <a:gd name="connsiteY4" fmla="*/ 1075848 h 2010525"/>
              <a:gd name="connsiteX5" fmla="*/ 2775723 w 3507576"/>
              <a:gd name="connsiteY5" fmla="*/ 943763 h 2010525"/>
              <a:gd name="connsiteX6" fmla="*/ 2511555 w 3507576"/>
              <a:gd name="connsiteY6" fmla="*/ 1207932 h 2010525"/>
              <a:gd name="connsiteX7" fmla="*/ 2775723 w 3507576"/>
              <a:gd name="connsiteY7" fmla="*/ 1472101 h 2010525"/>
              <a:gd name="connsiteX8" fmla="*/ 3039892 w 3507576"/>
              <a:gd name="connsiteY8" fmla="*/ 1207932 h 2010525"/>
              <a:gd name="connsiteX9" fmla="*/ 2775723 w 3507576"/>
              <a:gd name="connsiteY9" fmla="*/ 943763 h 2010525"/>
              <a:gd name="connsiteX10" fmla="*/ 2775723 w 3507576"/>
              <a:gd name="connsiteY10" fmla="*/ 839815 h 2010525"/>
              <a:gd name="connsiteX11" fmla="*/ 3143840 w 3507576"/>
              <a:gd name="connsiteY11" fmla="*/ 1207932 h 2010525"/>
              <a:gd name="connsiteX12" fmla="*/ 2775723 w 3507576"/>
              <a:gd name="connsiteY12" fmla="*/ 1576049 h 2010525"/>
              <a:gd name="connsiteX13" fmla="*/ 2407606 w 3507576"/>
              <a:gd name="connsiteY13" fmla="*/ 1207932 h 2010525"/>
              <a:gd name="connsiteX14" fmla="*/ 2775723 w 3507576"/>
              <a:gd name="connsiteY14" fmla="*/ 839815 h 2010525"/>
              <a:gd name="connsiteX15" fmla="*/ 2775723 w 3507576"/>
              <a:gd name="connsiteY15" fmla="*/ 591072 h 2010525"/>
              <a:gd name="connsiteX16" fmla="*/ 2686829 w 3507576"/>
              <a:gd name="connsiteY16" fmla="*/ 598198 h 2010525"/>
              <a:gd name="connsiteX17" fmla="*/ 2687556 w 3507576"/>
              <a:gd name="connsiteY17" fmla="*/ 601873 h 2010525"/>
              <a:gd name="connsiteX18" fmla="*/ 2394673 w 3507576"/>
              <a:gd name="connsiteY18" fmla="*/ 723461 h 2010525"/>
              <a:gd name="connsiteX19" fmla="*/ 2280594 w 3507576"/>
              <a:gd name="connsiteY19" fmla="*/ 841783 h 2010525"/>
              <a:gd name="connsiteX20" fmla="*/ 2290838 w 3507576"/>
              <a:gd name="connsiteY20" fmla="*/ 849913 h 2010525"/>
              <a:gd name="connsiteX21" fmla="*/ 2164287 w 3507576"/>
              <a:gd name="connsiteY21" fmla="*/ 1128535 h 2010525"/>
              <a:gd name="connsiteX22" fmla="*/ 2158863 w 3507576"/>
              <a:gd name="connsiteY22" fmla="*/ 1207932 h 2010525"/>
              <a:gd name="connsiteX23" fmla="*/ 2164692 w 3507576"/>
              <a:gd name="connsiteY23" fmla="*/ 1288328 h 2010525"/>
              <a:gd name="connsiteX24" fmla="*/ 2282850 w 3507576"/>
              <a:gd name="connsiteY24" fmla="*/ 1577747 h 2010525"/>
              <a:gd name="connsiteX25" fmla="*/ 2399741 w 3507576"/>
              <a:gd name="connsiteY25" fmla="*/ 1695519 h 2010525"/>
              <a:gd name="connsiteX26" fmla="*/ 2689271 w 3507576"/>
              <a:gd name="connsiteY26" fmla="*/ 1818173 h 2010525"/>
              <a:gd name="connsiteX27" fmla="*/ 2775723 w 3507576"/>
              <a:gd name="connsiteY27" fmla="*/ 1824792 h 2010525"/>
              <a:gd name="connsiteX28" fmla="*/ 2863899 w 3507576"/>
              <a:gd name="connsiteY28" fmla="*/ 1817776 h 2010525"/>
              <a:gd name="connsiteX29" fmla="*/ 3151268 w 3507576"/>
              <a:gd name="connsiteY29" fmla="*/ 1696521 h 2010525"/>
              <a:gd name="connsiteX30" fmla="*/ 3267467 w 3507576"/>
              <a:gd name="connsiteY30" fmla="*/ 1578508 h 2010525"/>
              <a:gd name="connsiteX31" fmla="*/ 3375102 w 3507576"/>
              <a:gd name="connsiteY31" fmla="*/ 1288854 h 2010525"/>
              <a:gd name="connsiteX32" fmla="*/ 3375334 w 3507576"/>
              <a:gd name="connsiteY32" fmla="*/ 1288908 h 2010525"/>
              <a:gd name="connsiteX33" fmla="*/ 3387250 w 3507576"/>
              <a:gd name="connsiteY33" fmla="*/ 1284409 h 2010525"/>
              <a:gd name="connsiteX34" fmla="*/ 3392583 w 3507576"/>
              <a:gd name="connsiteY34" fmla="*/ 1207932 h 2010525"/>
              <a:gd name="connsiteX35" fmla="*/ 3387443 w 3507576"/>
              <a:gd name="connsiteY35" fmla="*/ 1132051 h 2010525"/>
              <a:gd name="connsiteX36" fmla="*/ 3268016 w 3507576"/>
              <a:gd name="connsiteY36" fmla="*/ 837341 h 2010525"/>
              <a:gd name="connsiteX37" fmla="*/ 3149992 w 3507576"/>
              <a:gd name="connsiteY37" fmla="*/ 719042 h 2010525"/>
              <a:gd name="connsiteX38" fmla="*/ 3131906 w 3507576"/>
              <a:gd name="connsiteY38" fmla="*/ 738610 h 2010525"/>
              <a:gd name="connsiteX39" fmla="*/ 2864447 w 3507576"/>
              <a:gd name="connsiteY39" fmla="*/ 598106 h 2010525"/>
              <a:gd name="connsiteX40" fmla="*/ 2775723 w 3507576"/>
              <a:gd name="connsiteY40" fmla="*/ 591072 h 2010525"/>
              <a:gd name="connsiteX41" fmla="*/ 1843795 w 3507576"/>
              <a:gd name="connsiteY41" fmla="*/ 583016 h 2010525"/>
              <a:gd name="connsiteX42" fmla="*/ 1931430 w 3507576"/>
              <a:gd name="connsiteY42" fmla="*/ 670499 h 2010525"/>
              <a:gd name="connsiteX43" fmla="*/ 1843795 w 3507576"/>
              <a:gd name="connsiteY43" fmla="*/ 757984 h 2010525"/>
              <a:gd name="connsiteX44" fmla="*/ 1756159 w 3507576"/>
              <a:gd name="connsiteY44" fmla="*/ 670499 h 2010525"/>
              <a:gd name="connsiteX45" fmla="*/ 1843795 w 3507576"/>
              <a:gd name="connsiteY45" fmla="*/ 583016 h 2010525"/>
              <a:gd name="connsiteX46" fmla="*/ 1843795 w 3507576"/>
              <a:gd name="connsiteY46" fmla="*/ 495531 h 2010525"/>
              <a:gd name="connsiteX47" fmla="*/ 1668524 w 3507576"/>
              <a:gd name="connsiteY47" fmla="*/ 670499 h 2010525"/>
              <a:gd name="connsiteX48" fmla="*/ 1843795 w 3507576"/>
              <a:gd name="connsiteY48" fmla="*/ 845467 h 2010525"/>
              <a:gd name="connsiteX49" fmla="*/ 2019066 w 3507576"/>
              <a:gd name="connsiteY49" fmla="*/ 670499 h 2010525"/>
              <a:gd name="connsiteX50" fmla="*/ 1843795 w 3507576"/>
              <a:gd name="connsiteY50" fmla="*/ 495531 h 2010525"/>
              <a:gd name="connsiteX51" fmla="*/ 1843795 w 3507576"/>
              <a:gd name="connsiteY51" fmla="*/ 426683 h 2010525"/>
              <a:gd name="connsiteX52" fmla="*/ 2088034 w 3507576"/>
              <a:gd name="connsiteY52" fmla="*/ 670499 h 2010525"/>
              <a:gd name="connsiteX53" fmla="*/ 1843795 w 3507576"/>
              <a:gd name="connsiteY53" fmla="*/ 914316 h 2010525"/>
              <a:gd name="connsiteX54" fmla="*/ 1599555 w 3507576"/>
              <a:gd name="connsiteY54" fmla="*/ 670499 h 2010525"/>
              <a:gd name="connsiteX55" fmla="*/ 1843795 w 3507576"/>
              <a:gd name="connsiteY55" fmla="*/ 426683 h 2010525"/>
              <a:gd name="connsiteX56" fmla="*/ 1843795 w 3507576"/>
              <a:gd name="connsiteY56" fmla="*/ 261932 h 2010525"/>
              <a:gd name="connsiteX57" fmla="*/ 1784815 w 3507576"/>
              <a:gd name="connsiteY57" fmla="*/ 266652 h 2010525"/>
              <a:gd name="connsiteX58" fmla="*/ 1785298 w 3507576"/>
              <a:gd name="connsiteY58" fmla="*/ 269086 h 2010525"/>
              <a:gd name="connsiteX59" fmla="*/ 1590974 w 3507576"/>
              <a:gd name="connsiteY59" fmla="*/ 349618 h 2010525"/>
              <a:gd name="connsiteX60" fmla="*/ 1515285 w 3507576"/>
              <a:gd name="connsiteY60" fmla="*/ 427987 h 2010525"/>
              <a:gd name="connsiteX61" fmla="*/ 1522082 w 3507576"/>
              <a:gd name="connsiteY61" fmla="*/ 433371 h 2010525"/>
              <a:gd name="connsiteX62" fmla="*/ 1438118 w 3507576"/>
              <a:gd name="connsiteY62" fmla="*/ 617912 h 2010525"/>
              <a:gd name="connsiteX63" fmla="*/ 1434519 w 3507576"/>
              <a:gd name="connsiteY63" fmla="*/ 670499 h 2010525"/>
              <a:gd name="connsiteX64" fmla="*/ 1438387 w 3507576"/>
              <a:gd name="connsiteY64" fmla="*/ 723748 h 2010525"/>
              <a:gd name="connsiteX65" fmla="*/ 1516782 w 3507576"/>
              <a:gd name="connsiteY65" fmla="*/ 915440 h 2010525"/>
              <a:gd name="connsiteX66" fmla="*/ 1594337 w 3507576"/>
              <a:gd name="connsiteY66" fmla="*/ 993445 h 2010525"/>
              <a:gd name="connsiteX67" fmla="*/ 1786435 w 3507576"/>
              <a:gd name="connsiteY67" fmla="*/ 1074682 h 2010525"/>
              <a:gd name="connsiteX68" fmla="*/ 1843795 w 3507576"/>
              <a:gd name="connsiteY68" fmla="*/ 1079067 h 2010525"/>
              <a:gd name="connsiteX69" fmla="*/ 1902298 w 3507576"/>
              <a:gd name="connsiteY69" fmla="*/ 1074420 h 2010525"/>
              <a:gd name="connsiteX70" fmla="*/ 2092962 w 3507576"/>
              <a:gd name="connsiteY70" fmla="*/ 994108 h 2010525"/>
              <a:gd name="connsiteX71" fmla="*/ 2170058 w 3507576"/>
              <a:gd name="connsiteY71" fmla="*/ 915945 h 2010525"/>
              <a:gd name="connsiteX72" fmla="*/ 2241472 w 3507576"/>
              <a:gd name="connsiteY72" fmla="*/ 724097 h 2010525"/>
              <a:gd name="connsiteX73" fmla="*/ 2241626 w 3507576"/>
              <a:gd name="connsiteY73" fmla="*/ 724132 h 2010525"/>
              <a:gd name="connsiteX74" fmla="*/ 2249532 w 3507576"/>
              <a:gd name="connsiteY74" fmla="*/ 721153 h 2010525"/>
              <a:gd name="connsiteX75" fmla="*/ 2253070 w 3507576"/>
              <a:gd name="connsiteY75" fmla="*/ 670499 h 2010525"/>
              <a:gd name="connsiteX76" fmla="*/ 2249660 w 3507576"/>
              <a:gd name="connsiteY76" fmla="*/ 620241 h 2010525"/>
              <a:gd name="connsiteX77" fmla="*/ 2170422 w 3507576"/>
              <a:gd name="connsiteY77" fmla="*/ 425045 h 2010525"/>
              <a:gd name="connsiteX78" fmla="*/ 2092115 w 3507576"/>
              <a:gd name="connsiteY78" fmla="*/ 346691 h 2010525"/>
              <a:gd name="connsiteX79" fmla="*/ 2080116 w 3507576"/>
              <a:gd name="connsiteY79" fmla="*/ 359652 h 2010525"/>
              <a:gd name="connsiteX80" fmla="*/ 1902662 w 3507576"/>
              <a:gd name="connsiteY80" fmla="*/ 266591 h 2010525"/>
              <a:gd name="connsiteX81" fmla="*/ 1843795 w 3507576"/>
              <a:gd name="connsiteY81" fmla="*/ 261932 h 2010525"/>
              <a:gd name="connsiteX82" fmla="*/ 1884276 w 3507576"/>
              <a:gd name="connsiteY82" fmla="*/ 322 h 2010525"/>
              <a:gd name="connsiteX83" fmla="*/ 2542952 w 3507576"/>
              <a:gd name="connsiteY83" fmla="*/ 515100 h 2010525"/>
              <a:gd name="connsiteX84" fmla="*/ 2885852 w 3507576"/>
              <a:gd name="connsiteY84" fmla="*/ 2010525 h 2010525"/>
              <a:gd name="connsiteX85" fmla="*/ 428402 w 3507576"/>
              <a:gd name="connsiteY85" fmla="*/ 2010525 h 2010525"/>
              <a:gd name="connsiteX86" fmla="*/ 657002 w 3507576"/>
              <a:gd name="connsiteY86" fmla="*/ 972300 h 2010525"/>
              <a:gd name="connsiteX87" fmla="*/ 1285652 w 3507576"/>
              <a:gd name="connsiteY87" fmla="*/ 734175 h 2010525"/>
              <a:gd name="connsiteX88" fmla="*/ 1704752 w 3507576"/>
              <a:gd name="connsiteY88" fmla="*/ 19800 h 2010525"/>
              <a:gd name="connsiteX89" fmla="*/ 1884276 w 3507576"/>
              <a:gd name="connsiteY89" fmla="*/ 322 h 201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507576" h="2010525">
                <a:moveTo>
                  <a:pt x="2775723" y="1075848"/>
                </a:moveTo>
                <a:cubicBezTo>
                  <a:pt x="2848671" y="1075848"/>
                  <a:pt x="2907808" y="1134984"/>
                  <a:pt x="2907808" y="1207932"/>
                </a:cubicBezTo>
                <a:cubicBezTo>
                  <a:pt x="2907808" y="1280880"/>
                  <a:pt x="2848671" y="1340016"/>
                  <a:pt x="2775723" y="1340016"/>
                </a:cubicBezTo>
                <a:cubicBezTo>
                  <a:pt x="2702775" y="1340016"/>
                  <a:pt x="2643639" y="1280880"/>
                  <a:pt x="2643639" y="1207932"/>
                </a:cubicBezTo>
                <a:cubicBezTo>
                  <a:pt x="2643639" y="1134984"/>
                  <a:pt x="2702775" y="1075848"/>
                  <a:pt x="2775723" y="1075848"/>
                </a:cubicBezTo>
                <a:close/>
                <a:moveTo>
                  <a:pt x="2775723" y="943763"/>
                </a:moveTo>
                <a:cubicBezTo>
                  <a:pt x="2629827" y="943763"/>
                  <a:pt x="2511555" y="1062035"/>
                  <a:pt x="2511555" y="1207932"/>
                </a:cubicBezTo>
                <a:cubicBezTo>
                  <a:pt x="2511555" y="1353829"/>
                  <a:pt x="2629827" y="1472101"/>
                  <a:pt x="2775723" y="1472101"/>
                </a:cubicBezTo>
                <a:cubicBezTo>
                  <a:pt x="2921620" y="1472101"/>
                  <a:pt x="3039892" y="1353829"/>
                  <a:pt x="3039892" y="1207932"/>
                </a:cubicBezTo>
                <a:cubicBezTo>
                  <a:pt x="3039892" y="1062035"/>
                  <a:pt x="2921620" y="943763"/>
                  <a:pt x="2775723" y="943763"/>
                </a:cubicBezTo>
                <a:close/>
                <a:moveTo>
                  <a:pt x="2775723" y="839815"/>
                </a:moveTo>
                <a:cubicBezTo>
                  <a:pt x="2979029" y="839815"/>
                  <a:pt x="3143840" y="1004626"/>
                  <a:pt x="3143840" y="1207932"/>
                </a:cubicBezTo>
                <a:cubicBezTo>
                  <a:pt x="3143840" y="1411238"/>
                  <a:pt x="2979029" y="1576049"/>
                  <a:pt x="2775723" y="1576049"/>
                </a:cubicBezTo>
                <a:cubicBezTo>
                  <a:pt x="2572418" y="1576049"/>
                  <a:pt x="2407606" y="1411238"/>
                  <a:pt x="2407606" y="1207932"/>
                </a:cubicBezTo>
                <a:cubicBezTo>
                  <a:pt x="2407606" y="1004626"/>
                  <a:pt x="2572418" y="839815"/>
                  <a:pt x="2775723" y="839815"/>
                </a:cubicBezTo>
                <a:close/>
                <a:moveTo>
                  <a:pt x="2775723" y="591072"/>
                </a:moveTo>
                <a:cubicBezTo>
                  <a:pt x="2745498" y="591072"/>
                  <a:pt x="2715781" y="593245"/>
                  <a:pt x="2686829" y="598198"/>
                </a:cubicBezTo>
                <a:lnTo>
                  <a:pt x="2687556" y="601873"/>
                </a:lnTo>
                <a:cubicBezTo>
                  <a:pt x="2694633" y="638861"/>
                  <a:pt x="2598889" y="849780"/>
                  <a:pt x="2394673" y="723461"/>
                </a:cubicBezTo>
                <a:cubicBezTo>
                  <a:pt x="2351334" y="757397"/>
                  <a:pt x="2312691" y="797030"/>
                  <a:pt x="2280594" y="841783"/>
                </a:cubicBezTo>
                <a:lnTo>
                  <a:pt x="2290838" y="849913"/>
                </a:lnTo>
                <a:cubicBezTo>
                  <a:pt x="2319420" y="872898"/>
                  <a:pt x="2380536" y="1084741"/>
                  <a:pt x="2164287" y="1128535"/>
                </a:cubicBezTo>
                <a:cubicBezTo>
                  <a:pt x="2160588" y="1154497"/>
                  <a:pt x="2158863" y="1181013"/>
                  <a:pt x="2158863" y="1207932"/>
                </a:cubicBezTo>
                <a:cubicBezTo>
                  <a:pt x="2158863" y="1235208"/>
                  <a:pt x="2160634" y="1262070"/>
                  <a:pt x="2164692" y="1288328"/>
                </a:cubicBezTo>
                <a:cubicBezTo>
                  <a:pt x="2212707" y="1289318"/>
                  <a:pt x="2399871" y="1384288"/>
                  <a:pt x="2282850" y="1577747"/>
                </a:cubicBezTo>
                <a:cubicBezTo>
                  <a:pt x="2316093" y="1622331"/>
                  <a:pt x="2355253" y="1662215"/>
                  <a:pt x="2399741" y="1695519"/>
                </a:cubicBezTo>
                <a:cubicBezTo>
                  <a:pt x="2442879" y="1660283"/>
                  <a:pt x="2632891" y="1600342"/>
                  <a:pt x="2689271" y="1818173"/>
                </a:cubicBezTo>
                <a:cubicBezTo>
                  <a:pt x="2717461" y="1822740"/>
                  <a:pt x="2746353" y="1824792"/>
                  <a:pt x="2775723" y="1824792"/>
                </a:cubicBezTo>
                <a:cubicBezTo>
                  <a:pt x="2805698" y="1824792"/>
                  <a:pt x="2835174" y="1822654"/>
                  <a:pt x="2863899" y="1817776"/>
                </a:cubicBezTo>
                <a:cubicBezTo>
                  <a:pt x="2862121" y="1773440"/>
                  <a:pt x="2956373" y="1580212"/>
                  <a:pt x="3151268" y="1696521"/>
                </a:cubicBezTo>
                <a:cubicBezTo>
                  <a:pt x="3195356" y="1662829"/>
                  <a:pt x="3234716" y="1623294"/>
                  <a:pt x="3267467" y="1578508"/>
                </a:cubicBezTo>
                <a:cubicBezTo>
                  <a:pt x="3228207" y="1524765"/>
                  <a:pt x="3174664" y="1357698"/>
                  <a:pt x="3375102" y="1288854"/>
                </a:cubicBezTo>
                <a:lnTo>
                  <a:pt x="3375334" y="1288908"/>
                </a:lnTo>
                <a:cubicBezTo>
                  <a:pt x="3378807" y="1287163"/>
                  <a:pt x="3382798" y="1285646"/>
                  <a:pt x="3387250" y="1284409"/>
                </a:cubicBezTo>
                <a:cubicBezTo>
                  <a:pt x="3390984" y="1259410"/>
                  <a:pt x="3392583" y="1233858"/>
                  <a:pt x="3392583" y="1207932"/>
                </a:cubicBezTo>
                <a:cubicBezTo>
                  <a:pt x="3392583" y="1182220"/>
                  <a:pt x="3391010" y="1156874"/>
                  <a:pt x="3387443" y="1132051"/>
                </a:cubicBezTo>
                <a:cubicBezTo>
                  <a:pt x="3347357" y="1137214"/>
                  <a:pt x="3140777" y="1040786"/>
                  <a:pt x="3268016" y="837341"/>
                </a:cubicBezTo>
                <a:cubicBezTo>
                  <a:pt x="3234468" y="792495"/>
                  <a:pt x="3194924" y="752422"/>
                  <a:pt x="3149992" y="719042"/>
                </a:cubicBezTo>
                <a:lnTo>
                  <a:pt x="3131906" y="738610"/>
                </a:lnTo>
                <a:cubicBezTo>
                  <a:pt x="3107095" y="765110"/>
                  <a:pt x="2895399" y="809485"/>
                  <a:pt x="2864447" y="598106"/>
                </a:cubicBezTo>
                <a:cubicBezTo>
                  <a:pt x="2835543" y="593237"/>
                  <a:pt x="2805886" y="591072"/>
                  <a:pt x="2775723" y="591072"/>
                </a:cubicBezTo>
                <a:close/>
                <a:moveTo>
                  <a:pt x="1843795" y="583016"/>
                </a:moveTo>
                <a:cubicBezTo>
                  <a:pt x="1892194" y="583016"/>
                  <a:pt x="1931430" y="622183"/>
                  <a:pt x="1931430" y="670499"/>
                </a:cubicBezTo>
                <a:cubicBezTo>
                  <a:pt x="1931430" y="718815"/>
                  <a:pt x="1892194" y="757984"/>
                  <a:pt x="1843795" y="757984"/>
                </a:cubicBezTo>
                <a:cubicBezTo>
                  <a:pt x="1795395" y="757984"/>
                  <a:pt x="1756159" y="718815"/>
                  <a:pt x="1756159" y="670499"/>
                </a:cubicBezTo>
                <a:cubicBezTo>
                  <a:pt x="1756159" y="622183"/>
                  <a:pt x="1795395" y="583016"/>
                  <a:pt x="1843795" y="583016"/>
                </a:cubicBezTo>
                <a:close/>
                <a:moveTo>
                  <a:pt x="1843795" y="495531"/>
                </a:moveTo>
                <a:cubicBezTo>
                  <a:pt x="1746995" y="495531"/>
                  <a:pt x="1668524" y="573867"/>
                  <a:pt x="1668524" y="670499"/>
                </a:cubicBezTo>
                <a:cubicBezTo>
                  <a:pt x="1668524" y="767132"/>
                  <a:pt x="1746995" y="845467"/>
                  <a:pt x="1843795" y="845467"/>
                </a:cubicBezTo>
                <a:cubicBezTo>
                  <a:pt x="1940594" y="845467"/>
                  <a:pt x="2019066" y="767132"/>
                  <a:pt x="2019066" y="670499"/>
                </a:cubicBezTo>
                <a:cubicBezTo>
                  <a:pt x="2019066" y="573867"/>
                  <a:pt x="1940594" y="495531"/>
                  <a:pt x="1843795" y="495531"/>
                </a:cubicBezTo>
                <a:close/>
                <a:moveTo>
                  <a:pt x="1843795" y="426683"/>
                </a:moveTo>
                <a:cubicBezTo>
                  <a:pt x="1978684" y="426683"/>
                  <a:pt x="2088034" y="535843"/>
                  <a:pt x="2088034" y="670499"/>
                </a:cubicBezTo>
                <a:cubicBezTo>
                  <a:pt x="2088034" y="805155"/>
                  <a:pt x="1978684" y="914316"/>
                  <a:pt x="1843795" y="914316"/>
                </a:cubicBezTo>
                <a:cubicBezTo>
                  <a:pt x="1708905" y="914316"/>
                  <a:pt x="1599555" y="805155"/>
                  <a:pt x="1599555" y="670499"/>
                </a:cubicBezTo>
                <a:cubicBezTo>
                  <a:pt x="1599555" y="535843"/>
                  <a:pt x="1708905" y="426683"/>
                  <a:pt x="1843795" y="426683"/>
                </a:cubicBezTo>
                <a:close/>
                <a:moveTo>
                  <a:pt x="1843795" y="261932"/>
                </a:moveTo>
                <a:cubicBezTo>
                  <a:pt x="1823741" y="261932"/>
                  <a:pt x="1804024" y="263372"/>
                  <a:pt x="1784815" y="266652"/>
                </a:cubicBezTo>
                <a:lnTo>
                  <a:pt x="1785298" y="269086"/>
                </a:lnTo>
                <a:cubicBezTo>
                  <a:pt x="1789993" y="293585"/>
                  <a:pt x="1726468" y="433283"/>
                  <a:pt x="1590974" y="349618"/>
                </a:cubicBezTo>
                <a:cubicBezTo>
                  <a:pt x="1562220" y="372095"/>
                  <a:pt x="1536581" y="398345"/>
                  <a:pt x="1515285" y="427987"/>
                </a:cubicBezTo>
                <a:lnTo>
                  <a:pt x="1522082" y="433371"/>
                </a:lnTo>
                <a:cubicBezTo>
                  <a:pt x="1541046" y="448595"/>
                  <a:pt x="1581595" y="588906"/>
                  <a:pt x="1438118" y="617912"/>
                </a:cubicBezTo>
                <a:cubicBezTo>
                  <a:pt x="1435663" y="635108"/>
                  <a:pt x="1434519" y="652670"/>
                  <a:pt x="1434519" y="670499"/>
                </a:cubicBezTo>
                <a:cubicBezTo>
                  <a:pt x="1434519" y="688565"/>
                  <a:pt x="1435694" y="706357"/>
                  <a:pt x="1438387" y="723748"/>
                </a:cubicBezTo>
                <a:cubicBezTo>
                  <a:pt x="1470244" y="724404"/>
                  <a:pt x="1594423" y="787306"/>
                  <a:pt x="1516782" y="915440"/>
                </a:cubicBezTo>
                <a:cubicBezTo>
                  <a:pt x="1538838" y="944970"/>
                  <a:pt x="1564820" y="971386"/>
                  <a:pt x="1594337" y="993445"/>
                </a:cubicBezTo>
                <a:cubicBezTo>
                  <a:pt x="1622959" y="970107"/>
                  <a:pt x="1749028" y="930406"/>
                  <a:pt x="1786435" y="1074682"/>
                </a:cubicBezTo>
                <a:cubicBezTo>
                  <a:pt x="1805139" y="1077707"/>
                  <a:pt x="1824308" y="1079067"/>
                  <a:pt x="1843795" y="1079067"/>
                </a:cubicBezTo>
                <a:cubicBezTo>
                  <a:pt x="1863683" y="1079067"/>
                  <a:pt x="1883239" y="1077651"/>
                  <a:pt x="1902298" y="1074420"/>
                </a:cubicBezTo>
                <a:cubicBezTo>
                  <a:pt x="1901118" y="1045055"/>
                  <a:pt x="1963653" y="917073"/>
                  <a:pt x="2092962" y="994108"/>
                </a:cubicBezTo>
                <a:cubicBezTo>
                  <a:pt x="2122213" y="971793"/>
                  <a:pt x="2148328" y="945608"/>
                  <a:pt x="2170058" y="915945"/>
                </a:cubicBezTo>
                <a:cubicBezTo>
                  <a:pt x="2144010" y="880349"/>
                  <a:pt x="2108484" y="769694"/>
                  <a:pt x="2241472" y="724097"/>
                </a:cubicBezTo>
                <a:lnTo>
                  <a:pt x="2241626" y="724132"/>
                </a:lnTo>
                <a:cubicBezTo>
                  <a:pt x="2243930" y="722977"/>
                  <a:pt x="2246578" y="721972"/>
                  <a:pt x="2249532" y="721153"/>
                </a:cubicBezTo>
                <a:cubicBezTo>
                  <a:pt x="2252009" y="704595"/>
                  <a:pt x="2253070" y="687671"/>
                  <a:pt x="2253070" y="670499"/>
                </a:cubicBezTo>
                <a:cubicBezTo>
                  <a:pt x="2253070" y="653469"/>
                  <a:pt x="2252026" y="636682"/>
                  <a:pt x="2249660" y="620241"/>
                </a:cubicBezTo>
                <a:cubicBezTo>
                  <a:pt x="2223064" y="623661"/>
                  <a:pt x="2086001" y="559793"/>
                  <a:pt x="2170422" y="425045"/>
                </a:cubicBezTo>
                <a:cubicBezTo>
                  <a:pt x="2148164" y="395341"/>
                  <a:pt x="2121927" y="368800"/>
                  <a:pt x="2092115" y="346691"/>
                </a:cubicBezTo>
                <a:lnTo>
                  <a:pt x="2080116" y="359652"/>
                </a:lnTo>
                <a:cubicBezTo>
                  <a:pt x="2063654" y="377203"/>
                  <a:pt x="1923197" y="406595"/>
                  <a:pt x="1902662" y="266591"/>
                </a:cubicBezTo>
                <a:cubicBezTo>
                  <a:pt x="1883484" y="263366"/>
                  <a:pt x="1863807" y="261932"/>
                  <a:pt x="1843795" y="261932"/>
                </a:cubicBezTo>
                <a:close/>
                <a:moveTo>
                  <a:pt x="1884276" y="322"/>
                </a:moveTo>
                <a:cubicBezTo>
                  <a:pt x="2272780" y="-9792"/>
                  <a:pt x="2454052" y="219230"/>
                  <a:pt x="2542952" y="515100"/>
                </a:cubicBezTo>
                <a:cubicBezTo>
                  <a:pt x="3578002" y="205537"/>
                  <a:pt x="3911377" y="1742238"/>
                  <a:pt x="2885852" y="2010525"/>
                </a:cubicBezTo>
                <a:lnTo>
                  <a:pt x="428402" y="2010525"/>
                </a:lnTo>
                <a:cubicBezTo>
                  <a:pt x="-465345" y="1685337"/>
                  <a:pt x="253777" y="772275"/>
                  <a:pt x="657002" y="972300"/>
                </a:cubicBezTo>
                <a:cubicBezTo>
                  <a:pt x="837977" y="511925"/>
                  <a:pt x="1238027" y="746875"/>
                  <a:pt x="1285652" y="734175"/>
                </a:cubicBezTo>
                <a:cubicBezTo>
                  <a:pt x="1187227" y="492875"/>
                  <a:pt x="1495202" y="56312"/>
                  <a:pt x="1704752" y="19800"/>
                </a:cubicBezTo>
                <a:cubicBezTo>
                  <a:pt x="1769046" y="8092"/>
                  <a:pt x="1828776" y="1767"/>
                  <a:pt x="1884276" y="32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b="1" dirty="0">
              <a:solidFill>
                <a:schemeClr val="tx1"/>
              </a:solidFill>
            </a:endParaRPr>
          </a:p>
        </p:txBody>
      </p:sp>
      <p:grpSp>
        <p:nvGrpSpPr>
          <p:cNvPr id="67" name="Group 66"/>
          <p:cNvGrpSpPr/>
          <p:nvPr/>
        </p:nvGrpSpPr>
        <p:grpSpPr>
          <a:xfrm>
            <a:off x="5927219" y="3668222"/>
            <a:ext cx="231541" cy="310525"/>
            <a:chOff x="1791958" y="4090991"/>
            <a:chExt cx="339724" cy="455613"/>
          </a:xfrm>
          <a:solidFill>
            <a:schemeClr val="tx2"/>
          </a:solidFill>
        </p:grpSpPr>
        <p:sp>
          <p:nvSpPr>
            <p:cNvPr id="69" name="Freeform 68"/>
            <p:cNvSpPr>
              <a:spLocks/>
            </p:cNvSpPr>
            <p:nvPr/>
          </p:nvSpPr>
          <p:spPr bwMode="auto">
            <a:xfrm>
              <a:off x="18332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70" name="Freeform 69"/>
            <p:cNvSpPr>
              <a:spLocks/>
            </p:cNvSpPr>
            <p:nvPr/>
          </p:nvSpPr>
          <p:spPr bwMode="auto">
            <a:xfrm>
              <a:off x="1812596" y="4314829"/>
              <a:ext cx="77787" cy="188913"/>
            </a:xfrm>
            <a:custGeom>
              <a:avLst/>
              <a:gdLst>
                <a:gd name="T0" fmla="*/ 20 w 74"/>
                <a:gd name="T1" fmla="*/ 0 h 179"/>
                <a:gd name="T2" fmla="*/ 20 w 74"/>
                <a:gd name="T3" fmla="*/ 0 h 179"/>
                <a:gd name="T4" fmla="*/ 68 w 74"/>
                <a:gd name="T5" fmla="*/ 0 h 179"/>
                <a:gd name="T6" fmla="*/ 62 w 74"/>
                <a:gd name="T7" fmla="*/ 19 h 179"/>
                <a:gd name="T8" fmla="*/ 62 w 74"/>
                <a:gd name="T9" fmla="*/ 90 h 179"/>
                <a:gd name="T10" fmla="*/ 74 w 74"/>
                <a:gd name="T11" fmla="*/ 114 h 179"/>
                <a:gd name="T12" fmla="*/ 74 w 74"/>
                <a:gd name="T13" fmla="*/ 164 h 179"/>
                <a:gd name="T14" fmla="*/ 59 w 74"/>
                <a:gd name="T15" fmla="*/ 179 h 179"/>
                <a:gd name="T16" fmla="*/ 45 w 74"/>
                <a:gd name="T17" fmla="*/ 167 h 179"/>
                <a:gd name="T18" fmla="*/ 30 w 74"/>
                <a:gd name="T19" fmla="*/ 179 h 179"/>
                <a:gd name="T20" fmla="*/ 15 w 74"/>
                <a:gd name="T21" fmla="*/ 164 h 179"/>
                <a:gd name="T22" fmla="*/ 15 w 74"/>
                <a:gd name="T23" fmla="*/ 94 h 179"/>
                <a:gd name="T24" fmla="*/ 0 w 74"/>
                <a:gd name="T25" fmla="*/ 76 h 179"/>
                <a:gd name="T26" fmla="*/ 0 w 74"/>
                <a:gd name="T27" fmla="*/ 20 h 179"/>
                <a:gd name="T28" fmla="*/ 20 w 74"/>
                <a:gd name="T29"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20" y="0"/>
                  </a:moveTo>
                  <a:lnTo>
                    <a:pt x="20" y="0"/>
                  </a:lnTo>
                  <a:lnTo>
                    <a:pt x="68" y="0"/>
                  </a:lnTo>
                  <a:cubicBezTo>
                    <a:pt x="64" y="5"/>
                    <a:pt x="62" y="12"/>
                    <a:pt x="62" y="19"/>
                  </a:cubicBezTo>
                  <a:lnTo>
                    <a:pt x="62" y="90"/>
                  </a:lnTo>
                  <a:cubicBezTo>
                    <a:pt x="62" y="100"/>
                    <a:pt x="67" y="109"/>
                    <a:pt x="74" y="114"/>
                  </a:cubicBezTo>
                  <a:lnTo>
                    <a:pt x="74" y="164"/>
                  </a:lnTo>
                  <a:cubicBezTo>
                    <a:pt x="74" y="172"/>
                    <a:pt x="68" y="179"/>
                    <a:pt x="59" y="179"/>
                  </a:cubicBezTo>
                  <a:cubicBezTo>
                    <a:pt x="52" y="179"/>
                    <a:pt x="46" y="174"/>
                    <a:pt x="45" y="167"/>
                  </a:cubicBezTo>
                  <a:cubicBezTo>
                    <a:pt x="43" y="174"/>
                    <a:pt x="37" y="179"/>
                    <a:pt x="30" y="179"/>
                  </a:cubicBezTo>
                  <a:cubicBezTo>
                    <a:pt x="22" y="179"/>
                    <a:pt x="15" y="172"/>
                    <a:pt x="15" y="164"/>
                  </a:cubicBezTo>
                  <a:lnTo>
                    <a:pt x="15" y="94"/>
                  </a:lnTo>
                  <a:cubicBezTo>
                    <a:pt x="7" y="92"/>
                    <a:pt x="0" y="85"/>
                    <a:pt x="0" y="76"/>
                  </a:cubicBezTo>
                  <a:lnTo>
                    <a:pt x="0" y="20"/>
                  </a:lnTo>
                  <a:cubicBezTo>
                    <a:pt x="0" y="9"/>
                    <a:pt x="9" y="0"/>
                    <a:pt x="2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74" name="Freeform 73"/>
            <p:cNvSpPr>
              <a:spLocks/>
            </p:cNvSpPr>
            <p:nvPr/>
          </p:nvSpPr>
          <p:spPr bwMode="auto">
            <a:xfrm>
              <a:off x="2031670" y="4314829"/>
              <a:ext cx="77787" cy="188913"/>
            </a:xfrm>
            <a:custGeom>
              <a:avLst/>
              <a:gdLst>
                <a:gd name="T0" fmla="*/ 14 w 74"/>
                <a:gd name="T1" fmla="*/ 90 h 179"/>
                <a:gd name="T2" fmla="*/ 14 w 74"/>
                <a:gd name="T3" fmla="*/ 90 h 179"/>
                <a:gd name="T4" fmla="*/ 14 w 74"/>
                <a:gd name="T5" fmla="*/ 19 h 179"/>
                <a:gd name="T6" fmla="*/ 7 w 74"/>
                <a:gd name="T7" fmla="*/ 0 h 179"/>
                <a:gd name="T8" fmla="*/ 55 w 74"/>
                <a:gd name="T9" fmla="*/ 0 h 179"/>
                <a:gd name="T10" fmla="*/ 74 w 74"/>
                <a:gd name="T11" fmla="*/ 20 h 179"/>
                <a:gd name="T12" fmla="*/ 74 w 74"/>
                <a:gd name="T13" fmla="*/ 76 h 179"/>
                <a:gd name="T14" fmla="*/ 59 w 74"/>
                <a:gd name="T15" fmla="*/ 94 h 179"/>
                <a:gd name="T16" fmla="*/ 59 w 74"/>
                <a:gd name="T17" fmla="*/ 164 h 179"/>
                <a:gd name="T18" fmla="*/ 44 w 74"/>
                <a:gd name="T19" fmla="*/ 179 h 179"/>
                <a:gd name="T20" fmla="*/ 30 w 74"/>
                <a:gd name="T21" fmla="*/ 167 h 179"/>
                <a:gd name="T22" fmla="*/ 15 w 74"/>
                <a:gd name="T23" fmla="*/ 179 h 179"/>
                <a:gd name="T24" fmla="*/ 0 w 74"/>
                <a:gd name="T25" fmla="*/ 164 h 179"/>
                <a:gd name="T26" fmla="*/ 0 w 74"/>
                <a:gd name="T27" fmla="*/ 115 h 179"/>
                <a:gd name="T28" fmla="*/ 14 w 74"/>
                <a:gd name="T29"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179">
                  <a:moveTo>
                    <a:pt x="14" y="90"/>
                  </a:moveTo>
                  <a:lnTo>
                    <a:pt x="14" y="90"/>
                  </a:lnTo>
                  <a:lnTo>
                    <a:pt x="14" y="19"/>
                  </a:lnTo>
                  <a:cubicBezTo>
                    <a:pt x="14" y="12"/>
                    <a:pt x="11" y="5"/>
                    <a:pt x="7" y="0"/>
                  </a:cubicBezTo>
                  <a:lnTo>
                    <a:pt x="55" y="0"/>
                  </a:lnTo>
                  <a:cubicBezTo>
                    <a:pt x="66" y="0"/>
                    <a:pt x="74" y="9"/>
                    <a:pt x="74" y="20"/>
                  </a:cubicBezTo>
                  <a:lnTo>
                    <a:pt x="74" y="76"/>
                  </a:lnTo>
                  <a:cubicBezTo>
                    <a:pt x="74" y="85"/>
                    <a:pt x="68" y="92"/>
                    <a:pt x="59" y="94"/>
                  </a:cubicBezTo>
                  <a:lnTo>
                    <a:pt x="59" y="164"/>
                  </a:lnTo>
                  <a:cubicBezTo>
                    <a:pt x="59" y="172"/>
                    <a:pt x="53" y="179"/>
                    <a:pt x="44" y="179"/>
                  </a:cubicBezTo>
                  <a:cubicBezTo>
                    <a:pt x="37" y="179"/>
                    <a:pt x="31" y="174"/>
                    <a:pt x="30" y="167"/>
                  </a:cubicBezTo>
                  <a:cubicBezTo>
                    <a:pt x="28" y="174"/>
                    <a:pt x="22" y="179"/>
                    <a:pt x="15" y="179"/>
                  </a:cubicBezTo>
                  <a:cubicBezTo>
                    <a:pt x="7" y="179"/>
                    <a:pt x="0" y="172"/>
                    <a:pt x="0" y="164"/>
                  </a:cubicBezTo>
                  <a:lnTo>
                    <a:pt x="0" y="115"/>
                  </a:lnTo>
                  <a:cubicBezTo>
                    <a:pt x="8" y="110"/>
                    <a:pt x="14" y="100"/>
                    <a:pt x="14" y="9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01" name="Freeform 100"/>
            <p:cNvSpPr>
              <a:spLocks/>
            </p:cNvSpPr>
            <p:nvPr/>
          </p:nvSpPr>
          <p:spPr bwMode="auto">
            <a:xfrm>
              <a:off x="2036433" y="4251329"/>
              <a:ext cx="53975" cy="53975"/>
            </a:xfrm>
            <a:custGeom>
              <a:avLst/>
              <a:gdLst>
                <a:gd name="T0" fmla="*/ 26 w 51"/>
                <a:gd name="T1" fmla="*/ 51 h 51"/>
                <a:gd name="T2" fmla="*/ 26 w 51"/>
                <a:gd name="T3" fmla="*/ 51 h 51"/>
                <a:gd name="T4" fmla="*/ 0 w 51"/>
                <a:gd name="T5" fmla="*/ 25 h 51"/>
                <a:gd name="T6" fmla="*/ 26 w 51"/>
                <a:gd name="T7" fmla="*/ 0 h 51"/>
                <a:gd name="T8" fmla="*/ 51 w 51"/>
                <a:gd name="T9" fmla="*/ 25 h 51"/>
                <a:gd name="T10" fmla="*/ 26 w 51"/>
                <a:gd name="T11" fmla="*/ 51 h 51"/>
              </a:gdLst>
              <a:ahLst/>
              <a:cxnLst>
                <a:cxn ang="0">
                  <a:pos x="T0" y="T1"/>
                </a:cxn>
                <a:cxn ang="0">
                  <a:pos x="T2" y="T3"/>
                </a:cxn>
                <a:cxn ang="0">
                  <a:pos x="T4" y="T5"/>
                </a:cxn>
                <a:cxn ang="0">
                  <a:pos x="T6" y="T7"/>
                </a:cxn>
                <a:cxn ang="0">
                  <a:pos x="T8" y="T9"/>
                </a:cxn>
                <a:cxn ang="0">
                  <a:pos x="T10" y="T11"/>
                </a:cxn>
              </a:cxnLst>
              <a:rect l="0" t="0" r="r" b="b"/>
              <a:pathLst>
                <a:path w="51" h="51">
                  <a:moveTo>
                    <a:pt x="26" y="51"/>
                  </a:moveTo>
                  <a:lnTo>
                    <a:pt x="26" y="51"/>
                  </a:lnTo>
                  <a:cubicBezTo>
                    <a:pt x="12" y="51"/>
                    <a:pt x="0" y="39"/>
                    <a:pt x="0" y="25"/>
                  </a:cubicBezTo>
                  <a:cubicBezTo>
                    <a:pt x="0" y="11"/>
                    <a:pt x="12" y="0"/>
                    <a:pt x="26" y="0"/>
                  </a:cubicBezTo>
                  <a:cubicBezTo>
                    <a:pt x="40" y="0"/>
                    <a:pt x="51" y="11"/>
                    <a:pt x="51" y="25"/>
                  </a:cubicBezTo>
                  <a:cubicBezTo>
                    <a:pt x="51" y="39"/>
                    <a:pt x="40" y="51"/>
                    <a:pt x="26" y="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02" name="Freeform 101"/>
            <p:cNvSpPr>
              <a:spLocks/>
            </p:cNvSpPr>
            <p:nvPr/>
          </p:nvSpPr>
          <p:spPr bwMode="auto">
            <a:xfrm>
              <a:off x="1896733" y="4313241"/>
              <a:ext cx="131762" cy="233363"/>
            </a:xfrm>
            <a:custGeom>
              <a:avLst/>
              <a:gdLst>
                <a:gd name="T0" fmla="*/ 19 w 125"/>
                <a:gd name="T1" fmla="*/ 0 h 221"/>
                <a:gd name="T2" fmla="*/ 19 w 125"/>
                <a:gd name="T3" fmla="*/ 0 h 221"/>
                <a:gd name="T4" fmla="*/ 44 w 125"/>
                <a:gd name="T5" fmla="*/ 0 h 221"/>
                <a:gd name="T6" fmla="*/ 63 w 125"/>
                <a:gd name="T7" fmla="*/ 25 h 221"/>
                <a:gd name="T8" fmla="*/ 82 w 125"/>
                <a:gd name="T9" fmla="*/ 0 h 221"/>
                <a:gd name="T10" fmla="*/ 106 w 125"/>
                <a:gd name="T11" fmla="*/ 0 h 221"/>
                <a:gd name="T12" fmla="*/ 125 w 125"/>
                <a:gd name="T13" fmla="*/ 20 h 221"/>
                <a:gd name="T14" fmla="*/ 125 w 125"/>
                <a:gd name="T15" fmla="*/ 91 h 221"/>
                <a:gd name="T16" fmla="*/ 106 w 125"/>
                <a:gd name="T17" fmla="*/ 110 h 221"/>
                <a:gd name="T18" fmla="*/ 100 w 125"/>
                <a:gd name="T19" fmla="*/ 110 h 221"/>
                <a:gd name="T20" fmla="*/ 100 w 125"/>
                <a:gd name="T21" fmla="*/ 202 h 221"/>
                <a:gd name="T22" fmla="*/ 81 w 125"/>
                <a:gd name="T23" fmla="*/ 221 h 221"/>
                <a:gd name="T24" fmla="*/ 63 w 125"/>
                <a:gd name="T25" fmla="*/ 209 h 221"/>
                <a:gd name="T26" fmla="*/ 45 w 125"/>
                <a:gd name="T27" fmla="*/ 221 h 221"/>
                <a:gd name="T28" fmla="*/ 26 w 125"/>
                <a:gd name="T29" fmla="*/ 202 h 221"/>
                <a:gd name="T30" fmla="*/ 26 w 125"/>
                <a:gd name="T31" fmla="*/ 110 h 221"/>
                <a:gd name="T32" fmla="*/ 19 w 125"/>
                <a:gd name="T33" fmla="*/ 110 h 221"/>
                <a:gd name="T34" fmla="*/ 0 w 125"/>
                <a:gd name="T35" fmla="*/ 91 h 221"/>
                <a:gd name="T36" fmla="*/ 0 w 125"/>
                <a:gd name="T37" fmla="*/ 20 h 221"/>
                <a:gd name="T38" fmla="*/ 19 w 125"/>
                <a:gd name="T39"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221">
                  <a:moveTo>
                    <a:pt x="19" y="0"/>
                  </a:moveTo>
                  <a:lnTo>
                    <a:pt x="19" y="0"/>
                  </a:lnTo>
                  <a:lnTo>
                    <a:pt x="44" y="0"/>
                  </a:lnTo>
                  <a:lnTo>
                    <a:pt x="63" y="25"/>
                  </a:lnTo>
                  <a:lnTo>
                    <a:pt x="82" y="0"/>
                  </a:lnTo>
                  <a:lnTo>
                    <a:pt x="106" y="0"/>
                  </a:lnTo>
                  <a:cubicBezTo>
                    <a:pt x="117" y="0"/>
                    <a:pt x="125" y="9"/>
                    <a:pt x="125" y="20"/>
                  </a:cubicBezTo>
                  <a:lnTo>
                    <a:pt x="125" y="91"/>
                  </a:lnTo>
                  <a:cubicBezTo>
                    <a:pt x="125" y="102"/>
                    <a:pt x="117" y="110"/>
                    <a:pt x="106" y="110"/>
                  </a:cubicBezTo>
                  <a:lnTo>
                    <a:pt x="100" y="110"/>
                  </a:lnTo>
                  <a:lnTo>
                    <a:pt x="100" y="202"/>
                  </a:lnTo>
                  <a:cubicBezTo>
                    <a:pt x="100" y="213"/>
                    <a:pt x="91" y="221"/>
                    <a:pt x="81" y="221"/>
                  </a:cubicBezTo>
                  <a:cubicBezTo>
                    <a:pt x="73" y="221"/>
                    <a:pt x="66" y="216"/>
                    <a:pt x="63" y="209"/>
                  </a:cubicBezTo>
                  <a:cubicBezTo>
                    <a:pt x="60" y="216"/>
                    <a:pt x="53" y="221"/>
                    <a:pt x="45" y="221"/>
                  </a:cubicBezTo>
                  <a:cubicBezTo>
                    <a:pt x="34" y="221"/>
                    <a:pt x="26" y="213"/>
                    <a:pt x="26" y="202"/>
                  </a:cubicBezTo>
                  <a:lnTo>
                    <a:pt x="26" y="110"/>
                  </a:lnTo>
                  <a:lnTo>
                    <a:pt x="19" y="110"/>
                  </a:lnTo>
                  <a:cubicBezTo>
                    <a:pt x="9" y="110"/>
                    <a:pt x="0" y="102"/>
                    <a:pt x="0" y="91"/>
                  </a:cubicBezTo>
                  <a:lnTo>
                    <a:pt x="0" y="20"/>
                  </a:lnTo>
                  <a:cubicBezTo>
                    <a:pt x="0" y="9"/>
                    <a:pt x="9" y="0"/>
                    <a:pt x="19"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03" name="Freeform 102"/>
            <p:cNvSpPr>
              <a:spLocks/>
            </p:cNvSpPr>
            <p:nvPr/>
          </p:nvSpPr>
          <p:spPr bwMode="auto">
            <a:xfrm>
              <a:off x="1928483" y="4233866"/>
              <a:ext cx="66675" cy="66675"/>
            </a:xfrm>
            <a:custGeom>
              <a:avLst/>
              <a:gdLst>
                <a:gd name="T0" fmla="*/ 32 w 63"/>
                <a:gd name="T1" fmla="*/ 63 h 63"/>
                <a:gd name="T2" fmla="*/ 32 w 63"/>
                <a:gd name="T3" fmla="*/ 63 h 63"/>
                <a:gd name="T4" fmla="*/ 0 w 63"/>
                <a:gd name="T5" fmla="*/ 32 h 63"/>
                <a:gd name="T6" fmla="*/ 32 w 63"/>
                <a:gd name="T7" fmla="*/ 0 h 63"/>
                <a:gd name="T8" fmla="*/ 63 w 63"/>
                <a:gd name="T9" fmla="*/ 32 h 63"/>
                <a:gd name="T10" fmla="*/ 32 w 63"/>
                <a:gd name="T11" fmla="*/ 63 h 63"/>
              </a:gdLst>
              <a:ahLst/>
              <a:cxnLst>
                <a:cxn ang="0">
                  <a:pos x="T0" y="T1"/>
                </a:cxn>
                <a:cxn ang="0">
                  <a:pos x="T2" y="T3"/>
                </a:cxn>
                <a:cxn ang="0">
                  <a:pos x="T4" y="T5"/>
                </a:cxn>
                <a:cxn ang="0">
                  <a:pos x="T6" y="T7"/>
                </a:cxn>
                <a:cxn ang="0">
                  <a:pos x="T8" y="T9"/>
                </a:cxn>
                <a:cxn ang="0">
                  <a:pos x="T10" y="T11"/>
                </a:cxn>
              </a:cxnLst>
              <a:rect l="0" t="0" r="r" b="b"/>
              <a:pathLst>
                <a:path w="63" h="63">
                  <a:moveTo>
                    <a:pt x="32" y="63"/>
                  </a:moveTo>
                  <a:lnTo>
                    <a:pt x="32" y="63"/>
                  </a:lnTo>
                  <a:cubicBezTo>
                    <a:pt x="16" y="63"/>
                    <a:pt x="0" y="50"/>
                    <a:pt x="0" y="32"/>
                  </a:cubicBezTo>
                  <a:cubicBezTo>
                    <a:pt x="0" y="14"/>
                    <a:pt x="14" y="0"/>
                    <a:pt x="32" y="0"/>
                  </a:cubicBezTo>
                  <a:cubicBezTo>
                    <a:pt x="49" y="0"/>
                    <a:pt x="63" y="14"/>
                    <a:pt x="63" y="32"/>
                  </a:cubicBezTo>
                  <a:cubicBezTo>
                    <a:pt x="63" y="50"/>
                    <a:pt x="48" y="63"/>
                    <a:pt x="32" y="6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04" name="Freeform 103"/>
            <p:cNvSpPr>
              <a:spLocks/>
            </p:cNvSpPr>
            <p:nvPr/>
          </p:nvSpPr>
          <p:spPr bwMode="auto">
            <a:xfrm>
              <a:off x="1791958" y="4090991"/>
              <a:ext cx="339724" cy="141288"/>
            </a:xfrm>
            <a:custGeom>
              <a:avLst/>
              <a:gdLst>
                <a:gd name="T0" fmla="*/ 4 w 323"/>
                <a:gd name="T1" fmla="*/ 79 h 134"/>
                <a:gd name="T2" fmla="*/ 4 w 323"/>
                <a:gd name="T3" fmla="*/ 79 h 134"/>
                <a:gd name="T4" fmla="*/ 319 w 323"/>
                <a:gd name="T5" fmla="*/ 79 h 134"/>
                <a:gd name="T6" fmla="*/ 323 w 323"/>
                <a:gd name="T7" fmla="*/ 88 h 134"/>
                <a:gd name="T8" fmla="*/ 319 w 323"/>
                <a:gd name="T9" fmla="*/ 96 h 134"/>
                <a:gd name="T10" fmla="*/ 286 w 323"/>
                <a:gd name="T11" fmla="*/ 130 h 134"/>
                <a:gd name="T12" fmla="*/ 272 w 323"/>
                <a:gd name="T13" fmla="*/ 131 h 134"/>
                <a:gd name="T14" fmla="*/ 223 w 323"/>
                <a:gd name="T15" fmla="*/ 101 h 134"/>
                <a:gd name="T16" fmla="*/ 210 w 323"/>
                <a:gd name="T17" fmla="*/ 82 h 134"/>
                <a:gd name="T18" fmla="*/ 210 w 323"/>
                <a:gd name="T19" fmla="*/ 65 h 134"/>
                <a:gd name="T20" fmla="*/ 113 w 323"/>
                <a:gd name="T21" fmla="*/ 65 h 134"/>
                <a:gd name="T22" fmla="*/ 113 w 323"/>
                <a:gd name="T23" fmla="*/ 82 h 134"/>
                <a:gd name="T24" fmla="*/ 100 w 323"/>
                <a:gd name="T25" fmla="*/ 101 h 134"/>
                <a:gd name="T26" fmla="*/ 51 w 323"/>
                <a:gd name="T27" fmla="*/ 131 h 134"/>
                <a:gd name="T28" fmla="*/ 36 w 323"/>
                <a:gd name="T29" fmla="*/ 130 h 134"/>
                <a:gd name="T30" fmla="*/ 3 w 323"/>
                <a:gd name="T31" fmla="*/ 96 h 134"/>
                <a:gd name="T32" fmla="*/ 0 w 323"/>
                <a:gd name="T33" fmla="*/ 88 h 134"/>
                <a:gd name="T34" fmla="*/ 4 w 323"/>
                <a:gd name="T35" fmla="*/ 7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34">
                  <a:moveTo>
                    <a:pt x="4" y="79"/>
                  </a:moveTo>
                  <a:lnTo>
                    <a:pt x="4" y="79"/>
                  </a:lnTo>
                  <a:cubicBezTo>
                    <a:pt x="94" y="0"/>
                    <a:pt x="229" y="0"/>
                    <a:pt x="319" y="79"/>
                  </a:cubicBezTo>
                  <a:cubicBezTo>
                    <a:pt x="321" y="82"/>
                    <a:pt x="323" y="84"/>
                    <a:pt x="323" y="88"/>
                  </a:cubicBezTo>
                  <a:cubicBezTo>
                    <a:pt x="323" y="91"/>
                    <a:pt x="322" y="94"/>
                    <a:pt x="319" y="96"/>
                  </a:cubicBezTo>
                  <a:cubicBezTo>
                    <a:pt x="300" y="116"/>
                    <a:pt x="303" y="113"/>
                    <a:pt x="286" y="130"/>
                  </a:cubicBezTo>
                  <a:cubicBezTo>
                    <a:pt x="283" y="134"/>
                    <a:pt x="276" y="134"/>
                    <a:pt x="272" y="131"/>
                  </a:cubicBezTo>
                  <a:cubicBezTo>
                    <a:pt x="257" y="118"/>
                    <a:pt x="241" y="108"/>
                    <a:pt x="223" y="101"/>
                  </a:cubicBezTo>
                  <a:cubicBezTo>
                    <a:pt x="215" y="98"/>
                    <a:pt x="210" y="90"/>
                    <a:pt x="210" y="82"/>
                  </a:cubicBezTo>
                  <a:lnTo>
                    <a:pt x="210" y="65"/>
                  </a:lnTo>
                  <a:cubicBezTo>
                    <a:pt x="178" y="57"/>
                    <a:pt x="145" y="57"/>
                    <a:pt x="113" y="65"/>
                  </a:cubicBezTo>
                  <a:lnTo>
                    <a:pt x="113" y="82"/>
                  </a:lnTo>
                  <a:cubicBezTo>
                    <a:pt x="113" y="90"/>
                    <a:pt x="108" y="98"/>
                    <a:pt x="100" y="101"/>
                  </a:cubicBezTo>
                  <a:cubicBezTo>
                    <a:pt x="82" y="108"/>
                    <a:pt x="65" y="118"/>
                    <a:pt x="51" y="131"/>
                  </a:cubicBezTo>
                  <a:cubicBezTo>
                    <a:pt x="46" y="134"/>
                    <a:pt x="40" y="134"/>
                    <a:pt x="36" y="130"/>
                  </a:cubicBezTo>
                  <a:cubicBezTo>
                    <a:pt x="20" y="113"/>
                    <a:pt x="23" y="116"/>
                    <a:pt x="3" y="96"/>
                  </a:cubicBezTo>
                  <a:cubicBezTo>
                    <a:pt x="1" y="94"/>
                    <a:pt x="0" y="91"/>
                    <a:pt x="0" y="88"/>
                  </a:cubicBezTo>
                  <a:cubicBezTo>
                    <a:pt x="0" y="84"/>
                    <a:pt x="1" y="82"/>
                    <a:pt x="4" y="7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grpSp>
      <p:sp>
        <p:nvSpPr>
          <p:cNvPr id="105" name="TextBox 104"/>
          <p:cNvSpPr txBox="1"/>
          <p:nvPr/>
        </p:nvSpPr>
        <p:spPr>
          <a:xfrm>
            <a:off x="5766794" y="5140526"/>
            <a:ext cx="6153912" cy="1429658"/>
          </a:xfrm>
          <a:prstGeom prst="rect">
            <a:avLst/>
          </a:prstGeom>
          <a:solidFill>
            <a:schemeClr val="bg1">
              <a:alpha val="41000"/>
            </a:schemeClr>
          </a:solidFill>
          <a:ln>
            <a:noFill/>
          </a:ln>
        </p:spPr>
        <p:txBody>
          <a:bodyPr vert="horz" wrap="square" lIns="1920240" tIns="45720" rIns="91440" bIns="45720" rtlCol="0" anchor="ctr">
            <a:noAutofit/>
          </a:bodyPr>
          <a:lstStyle/>
          <a:p>
            <a:r>
              <a:rPr lang="en-US" sz="1400" dirty="0">
                <a:solidFill>
                  <a:schemeClr val="tx1">
                    <a:lumMod val="75000"/>
                    <a:lumOff val="25000"/>
                  </a:schemeClr>
                </a:solidFill>
              </a:rPr>
              <a:t>“We estimate that we will save about [US]$100,000 a year by standardizing on Skype for Business Online. This savings results from reducing the use of third-party conferencing providers, long-distance and toll calling contracts, and PBX and phone systems.” </a:t>
            </a:r>
          </a:p>
          <a:p>
            <a:pPr algn="r"/>
            <a:r>
              <a:rPr lang="en-US" sz="1400" dirty="0">
                <a:solidFill>
                  <a:schemeClr val="tx1">
                    <a:lumMod val="75000"/>
                    <a:lumOff val="25000"/>
                  </a:schemeClr>
                </a:solidFill>
              </a:rPr>
              <a:t> </a:t>
            </a:r>
            <a:r>
              <a:rPr lang="en-US" sz="1200" i="1" dirty="0">
                <a:solidFill>
                  <a:schemeClr val="tx1">
                    <a:lumMod val="75000"/>
                    <a:lumOff val="25000"/>
                  </a:schemeClr>
                </a:solidFill>
              </a:rPr>
              <a:t>- Niv Dolgin, Director of Enterprise Infrastructure, Ixia</a:t>
            </a:r>
          </a:p>
        </p:txBody>
      </p:sp>
      <p:sp>
        <p:nvSpPr>
          <p:cNvPr id="106" name="TextBox 105"/>
          <p:cNvSpPr txBox="1"/>
          <p:nvPr/>
        </p:nvSpPr>
        <p:spPr>
          <a:xfrm>
            <a:off x="5736365" y="5135900"/>
            <a:ext cx="1618592" cy="1434284"/>
          </a:xfrm>
          <a:prstGeom prst="rect">
            <a:avLst/>
          </a:prstGeom>
          <a:solidFill>
            <a:schemeClr val="tx2"/>
          </a:solidFill>
          <a:ln>
            <a:noFill/>
          </a:ln>
        </p:spPr>
        <p:txBody>
          <a:bodyPr vert="horz" wrap="square" lIns="91440" tIns="45720" rIns="91440" bIns="45720" rtlCol="0" anchor="ctr">
            <a:noAutofit/>
          </a:bodyPr>
          <a:lstStyle/>
          <a:p>
            <a:r>
              <a:rPr lang="en-US" sz="2000" dirty="0">
                <a:solidFill>
                  <a:schemeClr val="bg1"/>
                </a:solidFill>
                <a:latin typeface="Segoe UI Semibold" panose="020B0702040204020203" pitchFamily="34" charset="0"/>
                <a:cs typeface="Segoe UI Semibold" panose="020B0702040204020203" pitchFamily="34" charset="0"/>
              </a:rPr>
              <a:t>COST SAVINGS</a:t>
            </a:r>
          </a:p>
        </p:txBody>
      </p:sp>
      <p:grpSp>
        <p:nvGrpSpPr>
          <p:cNvPr id="107" name="Group 106"/>
          <p:cNvGrpSpPr/>
          <p:nvPr/>
        </p:nvGrpSpPr>
        <p:grpSpPr>
          <a:xfrm>
            <a:off x="7079323" y="5578677"/>
            <a:ext cx="553358" cy="553356"/>
            <a:chOff x="6625771" y="5385697"/>
            <a:chExt cx="629558" cy="629556"/>
          </a:xfrm>
          <a:solidFill>
            <a:schemeClr val="tx2"/>
          </a:solidFill>
        </p:grpSpPr>
        <p:sp>
          <p:nvSpPr>
            <p:cNvPr id="108" name="Diamond 107"/>
            <p:cNvSpPr/>
            <p:nvPr/>
          </p:nvSpPr>
          <p:spPr>
            <a:xfrm>
              <a:off x="6625771" y="5385697"/>
              <a:ext cx="629558" cy="629556"/>
            </a:xfrm>
            <a:prstGeom prst="diamond">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sp>
          <p:nvSpPr>
            <p:cNvPr id="109" name="Diamond 108"/>
            <p:cNvSpPr/>
            <p:nvPr/>
          </p:nvSpPr>
          <p:spPr>
            <a:xfrm>
              <a:off x="6661075" y="5421001"/>
              <a:ext cx="558950" cy="558948"/>
            </a:xfrm>
            <a:prstGeom prst="diamond">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a:p>
          </p:txBody>
        </p:sp>
      </p:grpSp>
      <p:sp>
        <p:nvSpPr>
          <p:cNvPr id="113" name="Freeform 112"/>
          <p:cNvSpPr/>
          <p:nvPr/>
        </p:nvSpPr>
        <p:spPr bwMode="auto">
          <a:xfrm>
            <a:off x="7257799" y="5738690"/>
            <a:ext cx="201603" cy="228704"/>
          </a:xfrm>
          <a:custGeom>
            <a:avLst/>
            <a:gdLst/>
            <a:ahLst/>
            <a:cxnLst/>
            <a:rect l="l" t="t" r="r" b="b"/>
            <a:pathLst>
              <a:path w="3911447" h="4437244">
                <a:moveTo>
                  <a:pt x="2118517" y="1334584"/>
                </a:moveTo>
                <a:lnTo>
                  <a:pt x="2351646" y="1334584"/>
                </a:lnTo>
                <a:lnTo>
                  <a:pt x="2351646" y="1523144"/>
                </a:lnTo>
                <a:cubicBezTo>
                  <a:pt x="2460211" y="1526001"/>
                  <a:pt x="2541349" y="1540857"/>
                  <a:pt x="2636200" y="1567713"/>
                </a:cubicBezTo>
                <a:lnTo>
                  <a:pt x="2636200" y="1920834"/>
                </a:lnTo>
                <a:cubicBezTo>
                  <a:pt x="2474496" y="1835125"/>
                  <a:pt x="2273365" y="1795698"/>
                  <a:pt x="2207654" y="1838553"/>
                </a:cubicBezTo>
                <a:cubicBezTo>
                  <a:pt x="2143087" y="1864266"/>
                  <a:pt x="2148801" y="1951689"/>
                  <a:pt x="2193941" y="1982544"/>
                </a:cubicBezTo>
                <a:cubicBezTo>
                  <a:pt x="2250509" y="2061968"/>
                  <a:pt x="2742480" y="2139677"/>
                  <a:pt x="2697911" y="2513940"/>
                </a:cubicBezTo>
                <a:cubicBezTo>
                  <a:pt x="2676198" y="2774496"/>
                  <a:pt x="2445355" y="2858490"/>
                  <a:pt x="2355074" y="2884203"/>
                </a:cubicBezTo>
                <a:lnTo>
                  <a:pt x="2355074" y="3103618"/>
                </a:lnTo>
                <a:lnTo>
                  <a:pt x="2121945" y="3103618"/>
                </a:lnTo>
                <a:lnTo>
                  <a:pt x="2121945" y="2911630"/>
                </a:lnTo>
                <a:cubicBezTo>
                  <a:pt x="1984239" y="2908202"/>
                  <a:pt x="1817392" y="2870490"/>
                  <a:pt x="1755110" y="2829349"/>
                </a:cubicBezTo>
                <a:lnTo>
                  <a:pt x="1755110" y="2462515"/>
                </a:lnTo>
                <a:cubicBezTo>
                  <a:pt x="1882531" y="2572222"/>
                  <a:pt x="2069949" y="2616791"/>
                  <a:pt x="2173371" y="2606506"/>
                </a:cubicBezTo>
                <a:cubicBezTo>
                  <a:pt x="2273936" y="2595650"/>
                  <a:pt x="2276793" y="2487085"/>
                  <a:pt x="2228225" y="2445373"/>
                </a:cubicBezTo>
                <a:cubicBezTo>
                  <a:pt x="2160800" y="2349950"/>
                  <a:pt x="1657972" y="2316238"/>
                  <a:pt x="1748253" y="1855695"/>
                </a:cubicBezTo>
                <a:cubicBezTo>
                  <a:pt x="1788822" y="1620852"/>
                  <a:pt x="2024808" y="1545428"/>
                  <a:pt x="2121945" y="1536857"/>
                </a:cubicBezTo>
                <a:close/>
                <a:moveTo>
                  <a:pt x="2218622" y="0"/>
                </a:moveTo>
                <a:cubicBezTo>
                  <a:pt x="2627497" y="0"/>
                  <a:pt x="3010537" y="110605"/>
                  <a:pt x="3338276" y="305539"/>
                </a:cubicBezTo>
                <a:lnTo>
                  <a:pt x="3497555" y="101671"/>
                </a:lnTo>
                <a:lnTo>
                  <a:pt x="3773280" y="994290"/>
                </a:lnTo>
                <a:lnTo>
                  <a:pt x="2844521" y="937517"/>
                </a:lnTo>
                <a:lnTo>
                  <a:pt x="3030164" y="699905"/>
                </a:lnTo>
                <a:lnTo>
                  <a:pt x="3013735" y="720897"/>
                </a:lnTo>
                <a:cubicBezTo>
                  <a:pt x="2776817" y="594118"/>
                  <a:pt x="2506071" y="522608"/>
                  <a:pt x="2218622" y="522608"/>
                </a:cubicBezTo>
                <a:cubicBezTo>
                  <a:pt x="1281939" y="522608"/>
                  <a:pt x="522608" y="1281939"/>
                  <a:pt x="522608" y="2218622"/>
                </a:cubicBezTo>
                <a:cubicBezTo>
                  <a:pt x="522608" y="3155305"/>
                  <a:pt x="1281939" y="3914636"/>
                  <a:pt x="2218622" y="3914636"/>
                </a:cubicBezTo>
                <a:cubicBezTo>
                  <a:pt x="2743841" y="3914636"/>
                  <a:pt x="3213298" y="3675896"/>
                  <a:pt x="3524229" y="3300878"/>
                </a:cubicBezTo>
                <a:lnTo>
                  <a:pt x="3911447" y="3650966"/>
                </a:lnTo>
                <a:cubicBezTo>
                  <a:pt x="3505378" y="4132223"/>
                  <a:pt x="2897621" y="4437244"/>
                  <a:pt x="2218622" y="4437244"/>
                </a:cubicBezTo>
                <a:cubicBezTo>
                  <a:pt x="993311" y="4437244"/>
                  <a:pt x="0" y="3443933"/>
                  <a:pt x="0" y="2218622"/>
                </a:cubicBezTo>
                <a:cubicBezTo>
                  <a:pt x="0" y="993311"/>
                  <a:pt x="993311" y="0"/>
                  <a:pt x="221862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200" dirty="0"/>
          </a:p>
        </p:txBody>
      </p:sp>
    </p:spTree>
    <p:extLst>
      <p:ext uri="{BB962C8B-B14F-4D97-AF65-F5344CB8AC3E}">
        <p14:creationId xmlns:p14="http://schemas.microsoft.com/office/powerpoint/2010/main" val="27815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1"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p:cNvSpPr/>
          <p:nvPr/>
        </p:nvSpPr>
        <p:spPr>
          <a:xfrm>
            <a:off x="7286016" y="0"/>
            <a:ext cx="4905984" cy="6857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4367"/>
            <a:endParaRPr lang="en-US" sz="1176" dirty="0">
              <a:solidFill>
                <a:srgbClr val="FFFFFF"/>
              </a:solidFill>
            </a:endParaRPr>
          </a:p>
        </p:txBody>
      </p:sp>
      <p:sp>
        <p:nvSpPr>
          <p:cNvPr id="2" name="Title 1"/>
          <p:cNvSpPr>
            <a:spLocks noGrp="1"/>
          </p:cNvSpPr>
          <p:nvPr>
            <p:ph type="title"/>
          </p:nvPr>
        </p:nvSpPr>
        <p:spPr/>
        <p:txBody>
          <a:bodyPr/>
          <a:lstStyle/>
          <a:p>
            <a:r>
              <a:rPr lang="en-US"/>
              <a:t>Voice</a:t>
            </a:r>
            <a:endParaRPr lang="en-US" dirty="0"/>
          </a:p>
        </p:txBody>
      </p:sp>
      <p:sp>
        <p:nvSpPr>
          <p:cNvPr id="21" name="Rectangle 20"/>
          <p:cNvSpPr/>
          <p:nvPr/>
        </p:nvSpPr>
        <p:spPr bwMode="auto">
          <a:xfrm>
            <a:off x="0" y="1444083"/>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defTabSz="896010">
              <a:spcAft>
                <a:spcPts val="200"/>
              </a:spcAft>
              <a:defRPr/>
            </a:pPr>
            <a:r>
              <a:rPr lang="en-GB" sz="2000" kern="0" dirty="0">
                <a:solidFill>
                  <a:schemeClr val="tx2"/>
                </a:solidFill>
                <a:latin typeface="Segoe UI Semibold" panose="020B0702040204020203" pitchFamily="34" charset="0"/>
                <a:cs typeface="Segoe UI Semibold" panose="020B0702040204020203" pitchFamily="34" charset="0"/>
              </a:rPr>
              <a:t>PSTN Conferencing</a:t>
            </a:r>
          </a:p>
          <a:p>
            <a:pPr marL="285750" indent="-179388" defTabSz="896218">
              <a:spcBef>
                <a:spcPts val="600"/>
              </a:spcBef>
              <a:spcAft>
                <a:spcPts val="300"/>
              </a:spcAft>
              <a:buFont typeface="Arial" panose="020B0604020202020204" pitchFamily="34" charset="0"/>
              <a:buChar char="•"/>
              <a:defRPr/>
            </a:pPr>
            <a:r>
              <a:rPr lang="en-US" sz="1400" kern="0" dirty="0">
                <a:solidFill>
                  <a:srgbClr val="797A7D"/>
                </a:solidFill>
              </a:rPr>
              <a:t>Use a tolled dial-in number to join meetings from any device</a:t>
            </a:r>
          </a:p>
          <a:p>
            <a:pPr marL="285750" indent="-179388" defTabSz="896218">
              <a:spcAft>
                <a:spcPts val="300"/>
              </a:spcAft>
              <a:buFont typeface="Arial" panose="020B0604020202020204" pitchFamily="34" charset="0"/>
              <a:buChar char="•"/>
              <a:defRPr/>
            </a:pPr>
            <a:r>
              <a:rPr lang="en-US" sz="1400" kern="0" dirty="0">
                <a:solidFill>
                  <a:srgbClr val="797A7D"/>
                </a:solidFill>
              </a:rPr>
              <a:t>Dial out to bring participants into the meeting</a:t>
            </a:r>
          </a:p>
        </p:txBody>
      </p:sp>
      <p:sp>
        <p:nvSpPr>
          <p:cNvPr id="23" name="Rectangle 22"/>
          <p:cNvSpPr/>
          <p:nvPr/>
        </p:nvSpPr>
        <p:spPr bwMode="auto">
          <a:xfrm>
            <a:off x="0" y="2771366"/>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defTabSz="896010">
              <a:spcAft>
                <a:spcPts val="200"/>
              </a:spcAft>
              <a:defRPr/>
            </a:pPr>
            <a:r>
              <a:rPr lang="en-GB" sz="2000" kern="0" dirty="0">
                <a:solidFill>
                  <a:schemeClr val="tx2"/>
                </a:solidFill>
                <a:latin typeface="Segoe UI Semibold" panose="020B0702040204020203" pitchFamily="34" charset="0"/>
                <a:cs typeface="Segoe UI Semibold" panose="020B0702040204020203" pitchFamily="34" charset="0"/>
              </a:rPr>
              <a:t>Cloud PBX</a:t>
            </a:r>
          </a:p>
          <a:p>
            <a:pPr marL="285750" lvl="1" indent="-179388" defTabSz="896010">
              <a:spcBef>
                <a:spcPts val="600"/>
              </a:spcBef>
              <a:spcAft>
                <a:spcPts val="300"/>
              </a:spcAft>
              <a:buFont typeface="Arial" panose="020B0604020202020204" pitchFamily="34" charset="0"/>
              <a:buChar char="•"/>
              <a:defRPr/>
            </a:pPr>
            <a:r>
              <a:rPr lang="en-US" sz="1400" kern="0" dirty="0">
                <a:solidFill>
                  <a:srgbClr val="797A7D"/>
                </a:solidFill>
              </a:rPr>
              <a:t>Centrally manage users for communications, email, and content from Office 365</a:t>
            </a:r>
          </a:p>
          <a:p>
            <a:pPr marL="285750" lvl="1" indent="-179388" defTabSz="896010">
              <a:spcAft>
                <a:spcPts val="300"/>
              </a:spcAft>
              <a:buFont typeface="Arial" panose="020B0604020202020204" pitchFamily="34" charset="0"/>
              <a:buChar char="•"/>
              <a:defRPr/>
            </a:pPr>
            <a:r>
              <a:rPr lang="en-US" sz="1400" kern="0" dirty="0">
                <a:solidFill>
                  <a:srgbClr val="797A7D"/>
                </a:solidFill>
              </a:rPr>
              <a:t>Eliminate separate PBX systems and transition to the cloud</a:t>
            </a:r>
          </a:p>
        </p:txBody>
      </p:sp>
      <p:sp>
        <p:nvSpPr>
          <p:cNvPr id="24" name="Rectangle 23"/>
          <p:cNvSpPr/>
          <p:nvPr/>
        </p:nvSpPr>
        <p:spPr bwMode="auto">
          <a:xfrm>
            <a:off x="0" y="4098649"/>
            <a:ext cx="7198468" cy="1237851"/>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920" tIns="91440" rIns="91440" bIns="89642" numCol="1" spcCol="0" rtlCol="0" fromWordArt="0" anchor="t" anchorCtr="0" forceAA="0" compatLnSpc="1">
            <a:prstTxWarp prst="textNoShape">
              <a:avLst/>
            </a:prstTxWarp>
            <a:noAutofit/>
          </a:bodyPr>
          <a:lstStyle/>
          <a:p>
            <a:pPr marL="288925" defTabSz="896010">
              <a:spcAft>
                <a:spcPts val="200"/>
              </a:spcAft>
              <a:defRPr/>
            </a:pPr>
            <a:r>
              <a:rPr lang="en-GB" sz="2000" kern="0" dirty="0">
                <a:solidFill>
                  <a:schemeClr val="tx2"/>
                </a:solidFill>
                <a:latin typeface="Segoe UI Semibold" panose="020B0702040204020203" pitchFamily="34" charset="0"/>
                <a:cs typeface="Segoe UI Semibold" panose="020B0702040204020203" pitchFamily="34" charset="0"/>
              </a:rPr>
              <a:t>PSTN Calling</a:t>
            </a:r>
          </a:p>
          <a:p>
            <a:pPr marL="285750" lvl="1" indent="-179388" defTabSz="896010">
              <a:spcBef>
                <a:spcPts val="600"/>
              </a:spcBef>
              <a:spcAft>
                <a:spcPts val="300"/>
              </a:spcAft>
              <a:buFont typeface="Arial" panose="020B0604020202020204" pitchFamily="34" charset="0"/>
              <a:buChar char="•"/>
              <a:defRPr/>
            </a:pPr>
            <a:r>
              <a:rPr lang="en-US" sz="1400" kern="0" dirty="0">
                <a:solidFill>
                  <a:srgbClr val="797A7D"/>
                </a:solidFill>
              </a:rPr>
              <a:t>Subscribe to calling plans from Office 365</a:t>
            </a:r>
          </a:p>
          <a:p>
            <a:pPr marL="285750" lvl="1" indent="-179388" defTabSz="896010">
              <a:spcAft>
                <a:spcPts val="300"/>
              </a:spcAft>
              <a:buFont typeface="Arial" panose="020B0604020202020204" pitchFamily="34" charset="0"/>
              <a:buChar char="•"/>
              <a:defRPr/>
            </a:pPr>
            <a:r>
              <a:rPr lang="en-US" sz="1400" kern="0" dirty="0">
                <a:solidFill>
                  <a:srgbClr val="797A7D"/>
                </a:solidFill>
              </a:rPr>
              <a:t>Use existing phone numbers or get new ones</a:t>
            </a:r>
          </a:p>
        </p:txBody>
      </p:sp>
      <p:cxnSp>
        <p:nvCxnSpPr>
          <p:cNvPr id="26" name="Straight Connector 25"/>
          <p:cNvCxnSpPr/>
          <p:nvPr/>
        </p:nvCxnSpPr>
        <p:spPr>
          <a:xfrm>
            <a:off x="503028" y="1907454"/>
            <a:ext cx="6370211"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69478" y="3242120"/>
            <a:ext cx="6303761"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40126" y="4554872"/>
            <a:ext cx="6333113"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rotWithShape="1">
          <a:blip r:embed="rId7"/>
          <a:srcRect l="21279" r="52802" b="45216"/>
          <a:stretch/>
        </p:blipFill>
        <p:spPr>
          <a:xfrm>
            <a:off x="7611959" y="3653437"/>
            <a:ext cx="1709238" cy="2257865"/>
          </a:xfrm>
          <a:prstGeom prst="rect">
            <a:avLst/>
          </a:prstGeom>
        </p:spPr>
      </p:pic>
      <p:pic>
        <p:nvPicPr>
          <p:cNvPr id="45" name="Picture 44"/>
          <p:cNvPicPr>
            <a:picLocks noChangeAspect="1"/>
          </p:cNvPicPr>
          <p:nvPr/>
        </p:nvPicPr>
        <p:blipFill rotWithShape="1">
          <a:blip r:embed="rId8"/>
          <a:srcRect l="53248" t="20248" r="17608" b="44091"/>
          <a:stretch/>
        </p:blipFill>
        <p:spPr>
          <a:xfrm>
            <a:off x="8159135" y="5097962"/>
            <a:ext cx="1210051" cy="925384"/>
          </a:xfrm>
          <a:prstGeom prst="rect">
            <a:avLst/>
          </a:prstGeom>
          <a:ln w="38100">
            <a:solidFill>
              <a:schemeClr val="tx2"/>
            </a:solidFill>
          </a:ln>
        </p:spPr>
      </p:pic>
      <p:pic>
        <p:nvPicPr>
          <p:cNvPr id="46" name="Picture 45"/>
          <p:cNvPicPr>
            <a:picLocks noChangeAspect="1"/>
          </p:cNvPicPr>
          <p:nvPr/>
        </p:nvPicPr>
        <p:blipFill rotWithShape="1">
          <a:blip r:embed="rId9"/>
          <a:srcRect l="440" r="602" b="15058"/>
          <a:stretch/>
        </p:blipFill>
        <p:spPr>
          <a:xfrm>
            <a:off x="9868846" y="3653437"/>
            <a:ext cx="1828800" cy="2319067"/>
          </a:xfrm>
          <a:prstGeom prst="rect">
            <a:avLst/>
          </a:prstGeom>
          <a:effectLst/>
        </p:spPr>
      </p:pic>
      <p:sp>
        <p:nvSpPr>
          <p:cNvPr id="47" name="TextBox 46"/>
          <p:cNvSpPr txBox="1"/>
          <p:nvPr/>
        </p:nvSpPr>
        <p:spPr>
          <a:xfrm>
            <a:off x="7294395" y="6175298"/>
            <a:ext cx="2420244" cy="215444"/>
          </a:xfrm>
          <a:prstGeom prst="rect">
            <a:avLst/>
          </a:prstGeom>
        </p:spPr>
        <p:txBody>
          <a:bodyPr wrap="square" lIns="0" tIns="0" rIns="0" bIns="0" rtlCol="0" anchor="ctr">
            <a:spAutoFit/>
          </a:bodyPr>
          <a:lstStyle/>
          <a:p>
            <a:pPr algn="ctr" defTabSz="896218">
              <a:defRPr/>
            </a:pPr>
            <a:r>
              <a:rPr lang="en-US" sz="1400" kern="0" dirty="0">
                <a:solidFill>
                  <a:srgbClr val="DC3C00"/>
                </a:solidFill>
                <a:latin typeface="Segoe UI Semibold" panose="020B0702040204020203" pitchFamily="34" charset="0"/>
                <a:cs typeface="Segoe UI Semibold" panose="020B0702040204020203" pitchFamily="34" charset="0"/>
              </a:rPr>
              <a:t>Cloud PBX</a:t>
            </a:r>
          </a:p>
        </p:txBody>
      </p:sp>
      <p:sp>
        <p:nvSpPr>
          <p:cNvPr id="48" name="TextBox 47"/>
          <p:cNvSpPr txBox="1"/>
          <p:nvPr/>
        </p:nvSpPr>
        <p:spPr>
          <a:xfrm>
            <a:off x="9573124" y="6175298"/>
            <a:ext cx="2420244" cy="215444"/>
          </a:xfrm>
          <a:prstGeom prst="rect">
            <a:avLst/>
          </a:prstGeom>
        </p:spPr>
        <p:txBody>
          <a:bodyPr wrap="square" lIns="0" tIns="0" rIns="0" bIns="0" rtlCol="0" anchor="ctr">
            <a:spAutoFit/>
          </a:bodyPr>
          <a:lstStyle/>
          <a:p>
            <a:pPr algn="ctr" defTabSz="896218">
              <a:defRPr/>
            </a:pPr>
            <a:r>
              <a:rPr lang="en-US" sz="1400" kern="0" dirty="0">
                <a:solidFill>
                  <a:srgbClr val="DC3C00"/>
                </a:solidFill>
                <a:latin typeface="Segoe UI Semibold" panose="020B0702040204020203" pitchFamily="34" charset="0"/>
                <a:cs typeface="Segoe UI Semibold" panose="020B0702040204020203" pitchFamily="34" charset="0"/>
              </a:rPr>
              <a:t>PSTN Calling</a:t>
            </a:r>
          </a:p>
        </p:txBody>
      </p:sp>
      <p:pic>
        <p:nvPicPr>
          <p:cNvPr id="5" name="Picture 4"/>
          <p:cNvPicPr>
            <a:picLocks noChangeAspect="1"/>
          </p:cNvPicPr>
          <p:nvPr/>
        </p:nvPicPr>
        <p:blipFill rotWithShape="1">
          <a:blip r:embed="rId10">
            <a:extLst>
              <a:ext uri="{28A0092B-C50C-407E-A947-70E740481C1C}">
                <a14:useLocalDpi xmlns:a14="http://schemas.microsoft.com/office/drawing/2010/main" val="0"/>
              </a:ext>
            </a:extLst>
          </a:blip>
          <a:srcRect t="3919"/>
          <a:stretch/>
        </p:blipFill>
        <p:spPr>
          <a:xfrm>
            <a:off x="7452245" y="1033975"/>
            <a:ext cx="2197988" cy="1565254"/>
          </a:xfrm>
          <a:prstGeom prst="rect">
            <a:avLst/>
          </a:prstGeom>
        </p:spPr>
      </p:pic>
      <p:pic>
        <p:nvPicPr>
          <p:cNvPr id="7" name="Picture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16463" y="1354979"/>
            <a:ext cx="2108838" cy="923247"/>
          </a:xfrm>
          <a:prstGeom prst="rect">
            <a:avLst/>
          </a:prstGeom>
        </p:spPr>
      </p:pic>
      <p:sp>
        <p:nvSpPr>
          <p:cNvPr id="50" name="TextBox 49"/>
          <p:cNvSpPr txBox="1"/>
          <p:nvPr/>
        </p:nvSpPr>
        <p:spPr>
          <a:xfrm>
            <a:off x="8440111" y="2475094"/>
            <a:ext cx="2420244" cy="215444"/>
          </a:xfrm>
          <a:prstGeom prst="rect">
            <a:avLst/>
          </a:prstGeom>
        </p:spPr>
        <p:txBody>
          <a:bodyPr wrap="square" lIns="0" tIns="0" rIns="0" bIns="0" rtlCol="0" anchor="ctr">
            <a:spAutoFit/>
          </a:bodyPr>
          <a:lstStyle/>
          <a:p>
            <a:pPr algn="ctr" defTabSz="896218">
              <a:defRPr/>
            </a:pPr>
            <a:r>
              <a:rPr lang="en-US" sz="1400" kern="0" dirty="0">
                <a:solidFill>
                  <a:srgbClr val="DC3C00"/>
                </a:solidFill>
                <a:latin typeface="Segoe UI Semibold" panose="020B0702040204020203" pitchFamily="34" charset="0"/>
                <a:cs typeface="Segoe UI Semibold" panose="020B0702040204020203" pitchFamily="34" charset="0"/>
              </a:rPr>
              <a:t>PSTN Conferencing</a:t>
            </a:r>
          </a:p>
        </p:txBody>
      </p:sp>
      <p:cxnSp>
        <p:nvCxnSpPr>
          <p:cNvPr id="20" name="Straight Connector 19"/>
          <p:cNvCxnSpPr/>
          <p:nvPr/>
        </p:nvCxnSpPr>
        <p:spPr>
          <a:xfrm>
            <a:off x="9344568" y="2824301"/>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199809" y="6536605"/>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514902" y="6536605"/>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8101591" y="2346423"/>
            <a:ext cx="280976" cy="77334"/>
          </a:xfrm>
          <a:prstGeom prst="rect">
            <a:avLst/>
          </a:prstGeom>
        </p:spPr>
        <p:txBody>
          <a:bodyPr vert="horz" wrap="square" lIns="91440" tIns="91440" rIns="91440" bIns="91440" rtlCol="0" anchor="t">
            <a:noAutofit/>
          </a:bodyPr>
          <a:lstStyle/>
          <a:p>
            <a:pPr algn="ctr"/>
            <a:r>
              <a:rPr lang="en-US" sz="600" dirty="0">
                <a:latin typeface="Segoe UI" pitchFamily="34" charset="0"/>
                <a:ea typeface="Segoe UI" pitchFamily="34" charset="0"/>
                <a:cs typeface="Segoe UI" pitchFamily="34" charset="0"/>
              </a:rPr>
              <a:t>X</a:t>
            </a:r>
          </a:p>
        </p:txBody>
      </p:sp>
    </p:spTree>
    <p:extLst>
      <p:ext uri="{BB962C8B-B14F-4D97-AF65-F5344CB8AC3E}">
        <p14:creationId xmlns:p14="http://schemas.microsoft.com/office/powerpoint/2010/main" val="24043179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loudProductivity_Template_2015">
  <a:themeElements>
    <a:clrScheme name="office365">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algn="ctr">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nterprise PPT template_H1 FY16" id="{C3BF11BD-9043-42DB-8ED3-AA5F5BA04F24}" vid="{A5DD829D-3463-4CF1-BB9F-0654797506A8}"/>
    </a:ext>
  </a:extLst>
</a:theme>
</file>

<file path=ppt/theme/theme2.xml><?xml version="1.0" encoding="utf-8"?>
<a:theme xmlns:a="http://schemas.openxmlformats.org/drawingml/2006/main" name="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3.xml><?xml version="1.0" encoding="utf-8"?>
<a:theme xmlns:a="http://schemas.openxmlformats.org/drawingml/2006/main" name="2_8-30538_Skype_For_Business_Template">
  <a:themeElements>
    <a:clrScheme name="S4B">
      <a:dk1>
        <a:srgbClr val="6E6E73"/>
      </a:dk1>
      <a:lt1>
        <a:srgbClr val="FFFFFF"/>
      </a:lt1>
      <a:dk2>
        <a:srgbClr val="00AFF0"/>
      </a:dk2>
      <a:lt2>
        <a:srgbClr val="EAEAEA"/>
      </a:lt2>
      <a:accent1>
        <a:srgbClr val="00AFF0"/>
      </a:accent1>
      <a:accent2>
        <a:srgbClr val="66CFF6"/>
      </a:accent2>
      <a:accent3>
        <a:srgbClr val="33353A"/>
      </a:accent3>
      <a:accent4>
        <a:srgbClr val="E6F7FE"/>
      </a:accent4>
      <a:accent5>
        <a:srgbClr val="6E6E73"/>
      </a:accent5>
      <a:accent6>
        <a:srgbClr val="93999D"/>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kype_for_Business_Template.potx" id="{C257EDF5-7091-4DB2-9906-98A4E71BAC5E}" vid="{31B68748-5868-4278-B3F7-5C2177CD9982}"/>
    </a:ext>
  </a:extLst>
</a:theme>
</file>

<file path=ppt/theme/theme4.xml><?xml version="1.0" encoding="utf-8"?>
<a:theme xmlns:a="http://schemas.openxmlformats.org/drawingml/2006/main" name="1_Drumbeat 2015 Office 365 Template - 16x9 - White Background">
  <a:themeElements>
    <a:clrScheme name="Custom 1">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EB3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ffice 15 template" id="{93C04A0E-1A35-42AD-82BC-375B9A984624}" vid="{382E9C0A-596C-4885-BB0A-F09C69EDAD90}"/>
    </a:ext>
  </a:extLst>
</a:theme>
</file>

<file path=ppt/theme/theme5.xml><?xml version="1.0" encoding="utf-8"?>
<a:theme xmlns:a="http://schemas.openxmlformats.org/drawingml/2006/main" name="1_FieldDeck">
  <a:themeElements>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nchor="ctr"/>
      <a:lstStyle>
        <a:defPPr algn="ctr">
          <a:defRPr sz="8000" b="1" i="1" dirty="0" smtClean="0">
            <a:solidFill>
              <a:schemeClr val="accent1"/>
            </a:solidFill>
            <a:cs typeface="Bodoni Std Bold Italic"/>
          </a:defRPr>
        </a:defPPr>
      </a:lstStyle>
    </a:txDef>
  </a:objectDefaults>
  <a:extraClrSchemeLst/>
  <a:extLst>
    <a:ext uri="{05A4C25C-085E-4340-85A3-A5531E510DB2}">
      <thm15:themeFamily xmlns:thm15="http://schemas.microsoft.com/office/thememl/2012/main" name="FieldDeck" id="{34C0F967-BF22-4FD0-93F3-1023B65F997C}" vid="{8EDB9196-809D-4054-A724-92AD8F47F408}"/>
    </a:ext>
  </a:extLst>
</a:theme>
</file>

<file path=ppt/theme/theme6.xml><?xml version="1.0" encoding="utf-8"?>
<a:theme xmlns:a="http://schemas.openxmlformats.org/drawingml/2006/main" name="2_CloudProductivity_Template_2015">
  <a:themeElements>
    <a:clrScheme name="office365">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algn="ctr">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nterprise PPT template_H1 FY16" id="{C3BF11BD-9043-42DB-8ED3-AA5F5BA04F24}" vid="{A5DD829D-3463-4CF1-BB9F-0654797506A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TaxCatchAll xmlns="0070f64a-a8c2-403c-b8a5-680aa8555a8d">
      <Value>365</Value>
      <Value>84</Value>
      <Value>34</Value>
      <Value>32</Value>
      <Value>43</Value>
      <Value>280</Value>
      <Value>173</Value>
      <Value>26</Value>
      <Value>21</Value>
      <Value>19</Value>
      <Value>58</Value>
      <Value>380</Value>
      <Value>83</Value>
      <Value>45</Value>
      <Value>35</Value>
      <Value>5</Value>
      <Value>381</Value>
    </TaxCatchAll>
    <assetType xmlns="a955cfa0-a234-45fd-b1ad-05220b7e99be" xsi:nil="true"/>
    <migrationStatus xmlns="a955cfa0-a234-45fd-b1ad-05220b7e99be" xsi:nil="true"/>
    <PublishingStartDate xmlns="http://schemas.microsoft.com/sharepoint/v3"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SharedContentType xmlns="Microsoft.SharePoint.Taxonomy.ContentTypeSync" SourceId="e385fb40-52d4-4fae-9c5b-3e8ff8a5878e" ContentTypeId="0x0101000E4CB7077FEE4FF7AE86D4A500EEC7800300F96E2758736AEF45AFCE0C190C2A9DEC"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363EF0F2C49C6F4EB38AD786DFBC46F2" ma:contentTypeVersion="20" ma:contentTypeDescription="Create a new document." ma:contentTypeScope="" ma:versionID="ef9cb9a3fd5a8f53731520d6712e0b8c">
  <xsd:schema xmlns:xsd="http://www.w3.org/2001/XMLSchema" xmlns:xs="http://www.w3.org/2001/XMLSchema" xmlns:p="http://schemas.microsoft.com/office/2006/metadata/properties" xmlns:ns1="http://schemas.microsoft.com/sharepoint/v3" xmlns:ns2="a955cfa0-a234-45fd-b1ad-05220b7e99be" xmlns:ns3="0070f64a-a8c2-403c-b8a5-680aa8555a8d" targetNamespace="http://schemas.microsoft.com/office/2006/metadata/properties" ma:root="true" ma:fieldsID="73a4a700cfe0204ea9beb2c8a35ca336" ns1:_="" ns2:_="" ns3:_="">
    <xsd:import namespace="http://schemas.microsoft.com/sharepoint/v3"/>
    <xsd:import namespace="a955cfa0-a234-45fd-b1ad-05220b7e99be"/>
    <xsd:import namespace="0070f64a-a8c2-403c-b8a5-680aa8555a8d"/>
    <xsd:element name="properties">
      <xsd:complexType>
        <xsd:sequence>
          <xsd:element name="documentManagement">
            <xsd:complexType>
              <xsd:all>
                <xsd:element ref="ns1:PublishingStartDate" minOccurs="0"/>
                <xsd:element ref="ns1:PublishingExpirationDate" minOccurs="0"/>
                <xsd:element ref="ns2:assetType" minOccurs="0"/>
                <xsd:element ref="ns3:TaxCatchAll" minOccurs="0"/>
                <xsd:element ref="ns2:migration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55cfa0-a234-45fd-b1ad-05220b7e99be" elementFormDefault="qualified">
    <xsd:import namespace="http://schemas.microsoft.com/office/2006/documentManagement/types"/>
    <xsd:import namespace="http://schemas.microsoft.com/office/infopath/2007/PartnerControls"/>
    <xsd:element name="assetType" ma:index="10" nillable="true" ma:displayName="Asset type" ma:format="Dropdown" ma:internalName="assetType">
      <xsd:simpleType>
        <xsd:restriction base="dms:Choice">
          <xsd:enumeration value="Sessions"/>
          <xsd:enumeration value="Successes"/>
          <xsd:enumeration value="Offer"/>
          <xsd:enumeration value="Resource"/>
          <xsd:enumeration value="e5"/>
        </xsd:restriction>
      </xsd:simpleType>
    </xsd:element>
    <xsd:element name="migrationStatus" ma:index="12" nillable="true" ma:displayName="migrationStatus" ma:format="RadioButtons" ma:internalName="migrationStatus">
      <xsd:simpleType>
        <xsd:restriction base="dms:Choice">
          <xsd:enumeration value="Public"/>
          <xsd:enumeration value="Authenticated"/>
          <xsd:enumeration value="Remove"/>
          <xsd:enumeration value="TBD"/>
        </xsd:restriction>
      </xsd:simpleType>
    </xsd:element>
  </xsd:schema>
  <xsd:schema xmlns:xsd="http://www.w3.org/2001/XMLSchema" xmlns:xs="http://www.w3.org/2001/XMLSchema" xmlns:dms="http://schemas.microsoft.com/office/2006/documentManagement/types" xmlns:pc="http://schemas.microsoft.com/office/infopath/2007/PartnerControls" targetNamespace="0070f64a-a8c2-403c-b8a5-680aa8555a8d"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bbf65d26-cc97-4c6b-8bc8-6081c6574edf}" ma:internalName="TaxCatchAll" ma:showField="CatchAllData" ma:web="0070f64a-a8c2-403c-b8a5-680aa8555a8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A8FBE48-0AEC-4108-AD7F-0F25A873DD8D}"/>
</file>

<file path=customXml/itemProps2.xml><?xml version="1.0" encoding="utf-8"?>
<ds:datastoreItem xmlns:ds="http://schemas.openxmlformats.org/officeDocument/2006/customXml" ds:itemID="{34059986-5274-415F-9AEE-66176C91DAC2}"/>
</file>

<file path=customXml/itemProps3.xml><?xml version="1.0" encoding="utf-8"?>
<ds:datastoreItem xmlns:ds="http://schemas.openxmlformats.org/officeDocument/2006/customXml" ds:itemID="{4EFFA339-A310-4F88-9C16-030EB92FE07F}">
  <ds:schemaRefs>
    <ds:schemaRef ds:uri="http://schemas.microsoft.com/sharepoint/events"/>
  </ds:schemaRefs>
</ds:datastoreItem>
</file>

<file path=customXml/itemProps4.xml><?xml version="1.0" encoding="utf-8"?>
<ds:datastoreItem xmlns:ds="http://schemas.openxmlformats.org/officeDocument/2006/customXml" ds:itemID="{D3B1927A-374D-492C-AF6C-718B3E812B9E}">
  <ds:schemaRefs>
    <ds:schemaRef ds:uri="Microsoft.SharePoint.Taxonomy.ContentTypeSync"/>
  </ds:schemaRefs>
</ds:datastoreItem>
</file>

<file path=customXml/itemProps5.xml><?xml version="1.0" encoding="utf-8"?>
<ds:datastoreItem xmlns:ds="http://schemas.openxmlformats.org/officeDocument/2006/customXml" ds:itemID="{64C47954-30E4-404D-9A50-41ABFA71756A}"/>
</file>

<file path=docProps/app.xml><?xml version="1.0" encoding="utf-8"?>
<Properties xmlns="http://schemas.openxmlformats.org/officeDocument/2006/extended-properties" xmlns:vt="http://schemas.openxmlformats.org/officeDocument/2006/docPropsVTypes">
  <TotalTime>0</TotalTime>
  <Words>6955</Words>
  <Application>Microsoft Office PowerPoint</Application>
  <PresentationFormat>Widescreen</PresentationFormat>
  <Paragraphs>826</Paragraphs>
  <Slides>24</Slides>
  <Notes>24</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42" baseType="lpstr">
      <vt:lpstr>12</vt:lpstr>
      <vt:lpstr>Arial</vt:lpstr>
      <vt:lpstr>Bodoni MT</vt:lpstr>
      <vt:lpstr>Bodoni Std Bold Italic</vt:lpstr>
      <vt:lpstr>Calibri</vt:lpstr>
      <vt:lpstr>Consolas</vt:lpstr>
      <vt:lpstr>Segoe UI</vt:lpstr>
      <vt:lpstr>Segoe UI Light</vt:lpstr>
      <vt:lpstr>Segoe UI Semibold</vt:lpstr>
      <vt:lpstr>Segoe UI Semilight</vt:lpstr>
      <vt:lpstr>Wingdings</vt:lpstr>
      <vt:lpstr>1_CloudProductivity_Template_2015</vt:lpstr>
      <vt:lpstr>FieldDeck</vt:lpstr>
      <vt:lpstr>2_8-30538_Skype_For_Business_Template</vt:lpstr>
      <vt:lpstr>1_Drumbeat 2015 Office 365 Template - 16x9 - White Background</vt:lpstr>
      <vt:lpstr>1_FieldDeck</vt:lpstr>
      <vt:lpstr>2_CloudProductivity_Template_2015</vt:lpstr>
      <vt:lpstr>think-cell Slide</vt:lpstr>
      <vt:lpstr>PowerPoint Presentation</vt:lpstr>
      <vt:lpstr>LAUNCH ANNOUNCEMENTS</vt:lpstr>
      <vt:lpstr>New Value for Enterprise Customers</vt:lpstr>
      <vt:lpstr>PowerPoint Presentation</vt:lpstr>
      <vt:lpstr>Security</vt:lpstr>
      <vt:lpstr>PowerPoint Presentation</vt:lpstr>
      <vt:lpstr>Analytics</vt:lpstr>
      <vt:lpstr>Voice</vt:lpstr>
      <vt:lpstr>Voice</vt:lpstr>
      <vt:lpstr>Office 365 Enterprise Suites</vt:lpstr>
      <vt:lpstr>E5 Helps Save Costs</vt:lpstr>
      <vt:lpstr>E5 “SINGLE SKU” WITH PSTN CONFERENCING NOW AVAILABLE </vt:lpstr>
      <vt:lpstr>E5 “SINGLE SKU” RENEWAL SCENARIOS</vt:lpstr>
      <vt:lpstr>NEW LICENSING MODEL - STEP UPS FOR ADD-ONS </vt:lpstr>
      <vt:lpstr>PATHS TO E5</vt:lpstr>
      <vt:lpstr>PATHS TO CLOUD VOICE FOR E4</vt:lpstr>
      <vt:lpstr>SCENARIO SUMMARY</vt:lpstr>
      <vt:lpstr>OFFICE 365 SERVICES PRICING</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365 E5 Licensing Internal Presentation</dc:title>
  <dc:creator/>
  <cp:keywords/>
  <cp:lastModifiedBy/>
  <cp:revision>1</cp:revision>
  <dcterms:created xsi:type="dcterms:W3CDTF">2016-01-27T00:21:29Z</dcterms:created>
  <dcterms:modified xsi:type="dcterms:W3CDTF">2016-10-05T19:2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
  </property>
  <property fmtid="{D5CDD505-2E9C-101B-9397-08002B2CF9AE}" pid="4" name="NewsType">
    <vt:lpwstr/>
  </property>
  <property fmtid="{D5CDD505-2E9C-101B-9397-08002B2CF9AE}" pid="5" name="_dlc_policyId">
    <vt:lpwstr/>
  </property>
  <property fmtid="{D5CDD505-2E9C-101B-9397-08002B2CF9AE}" pid="6" name="Region">
    <vt:lpwstr/>
  </property>
  <property fmtid="{D5CDD505-2E9C-101B-9397-08002B2CF9AE}" pid="7" name="Confidentiality">
    <vt:lpwstr>5;#Microsoft confidential|461efa83-0283-486a-a8d5-943328f3693f</vt:lpwstr>
  </property>
  <property fmtid="{D5CDD505-2E9C-101B-9397-08002B2CF9AE}" pid="8" name="ItemType">
    <vt:lpwstr>45;#presentations|317da5a4-398e-4c38-b265-afd519770055;#32;#feedback requests|00ce1828-98a3-430e-af54-eda270e1be04</vt:lpwstr>
  </property>
  <property fmtid="{D5CDD505-2E9C-101B-9397-08002B2CF9AE}" pid="9" name="ContentTypeId">
    <vt:lpwstr>0x010100363EF0F2C49C6F4EB38AD786DFBC46F2</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280;#Google|1946e706-962f-4cf1-894e-eb3279c7bb59;#83;#Google Apps|621e30c9-6d81-42e3-aa62-7ea3c4824629</vt:lpwstr>
  </property>
  <property fmtid="{D5CDD505-2E9C-101B-9397-08002B2CF9AE}" pid="14" name="SMSGDomain">
    <vt:lpwstr>19;#Microsoft Office Division|998d7cd0-7f52-4d06-a505-529ce4856340;#21;#Office 365 Domain|bcf4282b-a4aa-4d07-aae2-48a9bafb3146;#173;#Cloud and Enterprise|adc2fe87-c79a-4ded-a449-3f86b954069d;#84;#Compete Domain|b64df03d-ac6e-47e3-a629-66762ad81f36</vt:lpwstr>
  </property>
  <property fmtid="{D5CDD505-2E9C-101B-9397-08002B2CF9AE}" pid="15" name="ExperienceContentType">
    <vt:lpwstr/>
  </property>
  <property fmtid="{D5CDD505-2E9C-101B-9397-08002B2CF9AE}" pid="16" name="BusinessArchitecture">
    <vt:lpwstr/>
  </property>
  <property fmtid="{D5CDD505-2E9C-101B-9397-08002B2CF9AE}" pid="17" name="SMSGTags">
    <vt:lpwstr/>
  </property>
  <property fmtid="{D5CDD505-2E9C-101B-9397-08002B2CF9AE}" pid="18" name="Products">
    <vt:lpwstr>34;#Microsoft Office 365|79b3b58e-e806-4c92-b1ab-8c086f06098a;#380;#Office 16|e4f097c6-b372-440d-a3d5-438af40c3df4</vt:lpwstr>
  </property>
  <property fmtid="{D5CDD505-2E9C-101B-9397-08002B2CF9AE}" pid="19" name="_dlc_DocIdItemGuid">
    <vt:lpwstr>7f135dc5-2ea4-41b3-96b2-07469e98f109</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ActivitiesAndPrograms">
    <vt:lpwstr>381;#launch activities|892e728a-816e-47c7-b38f-ec00cab71bf8</vt:lpwstr>
  </property>
  <property fmtid="{D5CDD505-2E9C-101B-9397-08002B2CF9AE}" pid="24" name="Segments">
    <vt:lpwstr/>
  </property>
  <property fmtid="{D5CDD505-2E9C-101B-9397-08002B2CF9AE}" pid="25" name="Partners">
    <vt:lpwstr/>
  </property>
  <property fmtid="{D5CDD505-2E9C-101B-9397-08002B2CF9AE}" pid="26" name="la4444b61d19467597d63190b69ac227">
    <vt:lpwstr/>
  </property>
  <property fmtid="{D5CDD505-2E9C-101B-9397-08002B2CF9AE}" pid="27" name="l6f004f21209409da86a713c0f24627d">
    <vt:lpwstr/>
  </property>
  <property fmtid="{D5CDD505-2E9C-101B-9397-08002B2CF9AE}" pid="28" name="Topics">
    <vt:lpwstr>26;#hub subset|c6bfd112-b986-4a0a-aa8d-90e767bfdfa6;#365;#security|b5961085-1b64-4cb4-bb19-f7d6c2123e76</vt:lpwstr>
  </property>
  <property fmtid="{D5CDD505-2E9C-101B-9397-08002B2CF9AE}" pid="29" name="Groups">
    <vt:lpwstr>58;#Office Marketing Group|a07bee86-ad38-44ef-877b-5c34e894c7ed;#35;#Office Technical Product Marketing|16ddb889-3b91-489d-80f8-c96b7caf7099;#43;#SMSG Readiness|c6595b84-b463-470a-bb46-2a47364645be</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ItemRetentionFormula">
    <vt:lpwstr/>
  </property>
  <property fmtid="{D5CDD505-2E9C-101B-9397-08002B2CF9AE}" pid="41" name="NewsSource">
    <vt:lpwstr/>
  </property>
  <property fmtid="{D5CDD505-2E9C-101B-9397-08002B2CF9AE}" pid="42" name="SharedWithUsers">
    <vt:lpwstr>7967;#Tibor Vincze;#46763;#Randy Howard</vt:lpwstr>
  </property>
</Properties>
</file>